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avi" ContentType="video/x-msvide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38"/>
  </p:notesMasterIdLst>
  <p:handoutMasterIdLst>
    <p:handoutMasterId r:id="rId39"/>
  </p:handoutMasterIdLst>
  <p:sldIdLst>
    <p:sldId id="258" r:id="rId2"/>
    <p:sldId id="480" r:id="rId3"/>
    <p:sldId id="481" r:id="rId4"/>
    <p:sldId id="513" r:id="rId5"/>
    <p:sldId id="512" r:id="rId6"/>
    <p:sldId id="514" r:id="rId7"/>
    <p:sldId id="515" r:id="rId8"/>
    <p:sldId id="516" r:id="rId9"/>
    <p:sldId id="517" r:id="rId10"/>
    <p:sldId id="518" r:id="rId11"/>
    <p:sldId id="519" r:id="rId12"/>
    <p:sldId id="520" r:id="rId13"/>
    <p:sldId id="521" r:id="rId14"/>
    <p:sldId id="522" r:id="rId15"/>
    <p:sldId id="540" r:id="rId16"/>
    <p:sldId id="488" r:id="rId17"/>
    <p:sldId id="490" r:id="rId18"/>
    <p:sldId id="524" r:id="rId19"/>
    <p:sldId id="542" r:id="rId20"/>
    <p:sldId id="536" r:id="rId21"/>
    <p:sldId id="543" r:id="rId22"/>
    <p:sldId id="544" r:id="rId23"/>
    <p:sldId id="523" r:id="rId24"/>
    <p:sldId id="525" r:id="rId25"/>
    <p:sldId id="526" r:id="rId26"/>
    <p:sldId id="527" r:id="rId27"/>
    <p:sldId id="528" r:id="rId28"/>
    <p:sldId id="529" r:id="rId29"/>
    <p:sldId id="530" r:id="rId30"/>
    <p:sldId id="537" r:id="rId31"/>
    <p:sldId id="538" r:id="rId32"/>
    <p:sldId id="539" r:id="rId33"/>
    <p:sldId id="541" r:id="rId34"/>
    <p:sldId id="510" r:id="rId35"/>
    <p:sldId id="545" r:id="rId36"/>
    <p:sldId id="511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  <a:srgbClr val="FF00FF"/>
    <a:srgbClr val="FF9900"/>
    <a:srgbClr val="29485D"/>
    <a:srgbClr val="FF33CC"/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4249" autoAdjust="0"/>
  </p:normalViewPr>
  <p:slideViewPr>
    <p:cSldViewPr snapToGrid="0" snapToObjects="1" showGuides="1">
      <p:cViewPr varScale="1">
        <p:scale>
          <a:sx n="78" d="100"/>
          <a:sy n="78" d="100"/>
        </p:scale>
        <p:origin x="797" y="72"/>
      </p:cViewPr>
      <p:guideLst>
        <p:guide orient="horz" pos="41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528"/>
    </p:cViewPr>
  </p:sorterViewPr>
  <p:notesViewPr>
    <p:cSldViewPr snapToGrid="0" snapToObjects="1">
      <p:cViewPr varScale="1">
        <p:scale>
          <a:sx n="99" d="100"/>
          <a:sy n="99" d="100"/>
        </p:scale>
        <p:origin x="2532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emf"/><Relationship Id="rId1" Type="http://schemas.openxmlformats.org/officeDocument/2006/relationships/image" Target="../media/image120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emf"/><Relationship Id="rId1" Type="http://schemas.openxmlformats.org/officeDocument/2006/relationships/image" Target="../media/image1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2B36E-8DF3-40FB-A86F-0CDEABF16D13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7AEE6-5A71-4E5F-89B4-382C2E000A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16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09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6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 userDrawn="1">
          <p15:clr>
            <a:srgbClr val="FBAE40"/>
          </p15:clr>
        </p15:guide>
        <p15:guide id="2" orient="horz" pos="1408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  <p15:guide id="4" orient="horz" pos="1918" userDrawn="1">
          <p15:clr>
            <a:srgbClr val="FBAE40"/>
          </p15:clr>
        </p15:guide>
        <p15:guide id="5" orient="horz" pos="2046" userDrawn="1">
          <p15:clr>
            <a:srgbClr val="FBAE40"/>
          </p15:clr>
        </p15:guide>
        <p15:guide id="6" orient="horz" pos="2176" userDrawn="1">
          <p15:clr>
            <a:srgbClr val="FBAE40"/>
          </p15:clr>
        </p15:guide>
        <p15:guide id="7" orient="horz" pos="2302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  <p15:guide id="9" orient="horz" pos="2546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818" userDrawn="1">
          <p15:clr>
            <a:srgbClr val="FBAE40"/>
          </p15:clr>
        </p15:guide>
        <p15:guide id="12" orient="horz" pos="2944" userDrawn="1">
          <p15:clr>
            <a:srgbClr val="FBAE40"/>
          </p15:clr>
        </p15:guide>
        <p15:guide id="13" orient="horz" pos="3074" userDrawn="1">
          <p15:clr>
            <a:srgbClr val="FBAE40"/>
          </p15:clr>
        </p15:guide>
        <p15:guide id="14" orient="horz" pos="3202" userDrawn="1">
          <p15:clr>
            <a:srgbClr val="FBAE40"/>
          </p15:clr>
        </p15:guide>
        <p15:guide id="15" orient="horz" pos="3339" userDrawn="1">
          <p15:clr>
            <a:srgbClr val="FBAE40"/>
          </p15:clr>
        </p15:guide>
        <p15:guide id="16" orient="horz" pos="3456" userDrawn="1">
          <p15:clr>
            <a:srgbClr val="FBAE40"/>
          </p15:clr>
        </p15:guide>
        <p15:guide id="17" orient="horz" pos="3584" userDrawn="1">
          <p15:clr>
            <a:srgbClr val="FBAE40"/>
          </p15:clr>
        </p15:guide>
        <p15:guide id="18" orient="horz" pos="3710" userDrawn="1">
          <p15:clr>
            <a:srgbClr val="FBAE40"/>
          </p15:clr>
        </p15:guide>
        <p15:guide id="19" orient="horz" pos="3838" userDrawn="1">
          <p15:clr>
            <a:srgbClr val="FBAE40"/>
          </p15:clr>
        </p15:guide>
        <p15:guide id="20" orient="horz" pos="3970" userDrawn="1">
          <p15:clr>
            <a:srgbClr val="FBAE40"/>
          </p15:clr>
        </p15:guide>
        <p15:guide id="21" pos="7162" userDrawn="1">
          <p15:clr>
            <a:srgbClr val="FBAE40"/>
          </p15:clr>
        </p15:guide>
        <p15:guide id="22" pos="5626" userDrawn="1">
          <p15:clr>
            <a:srgbClr val="FBAE40"/>
          </p15:clr>
        </p15:guide>
        <p15:guide id="23" pos="5500" userDrawn="1">
          <p15:clr>
            <a:srgbClr val="FBAE40"/>
          </p15:clr>
        </p15:guide>
        <p15:guide id="24" pos="5372" userDrawn="1">
          <p15:clr>
            <a:srgbClr val="FBAE40"/>
          </p15:clr>
        </p15:guide>
        <p15:guide id="25" pos="5246" userDrawn="1">
          <p15:clr>
            <a:srgbClr val="FBAE40"/>
          </p15:clr>
        </p15:guide>
        <p15:guide id="26" pos="5116" userDrawn="1">
          <p15:clr>
            <a:srgbClr val="FBAE40"/>
          </p15:clr>
        </p15:guide>
        <p15:guide id="27" pos="4988" userDrawn="1">
          <p15:clr>
            <a:srgbClr val="FBAE40"/>
          </p15:clr>
        </p15:guide>
        <p15:guide id="28" pos="4860" userDrawn="1">
          <p15:clr>
            <a:srgbClr val="FBAE40"/>
          </p15:clr>
        </p15:guide>
        <p15:guide id="29" pos="4732" userDrawn="1">
          <p15:clr>
            <a:srgbClr val="FBAE40"/>
          </p15:clr>
        </p15:guide>
        <p15:guide id="30" pos="4602" userDrawn="1">
          <p15:clr>
            <a:srgbClr val="FBAE40"/>
          </p15:clr>
        </p15:guide>
        <p15:guide id="31" pos="4476" userDrawn="1">
          <p15:clr>
            <a:srgbClr val="FBAE40"/>
          </p15:clr>
        </p15:guide>
        <p15:guide id="32" pos="4348" userDrawn="1">
          <p15:clr>
            <a:srgbClr val="FBAE40"/>
          </p15:clr>
        </p15:guide>
        <p15:guide id="33" pos="4220" userDrawn="1">
          <p15:clr>
            <a:srgbClr val="FBAE40"/>
          </p15:clr>
        </p15:guide>
        <p15:guide id="34" pos="4094" userDrawn="1">
          <p15:clr>
            <a:srgbClr val="FBAE40"/>
          </p15:clr>
        </p15:guide>
        <p15:guide id="35" pos="3966" userDrawn="1">
          <p15:clr>
            <a:srgbClr val="FBAE40"/>
          </p15:clr>
        </p15:guide>
        <p15:guide id="36" pos="3838" userDrawn="1">
          <p15:clr>
            <a:srgbClr val="FBAE40"/>
          </p15:clr>
        </p15:guide>
        <p15:guide id="37" pos="3708" userDrawn="1">
          <p15:clr>
            <a:srgbClr val="FBAE40"/>
          </p15:clr>
        </p15:guide>
        <p15:guide id="38" pos="3580" userDrawn="1">
          <p15:clr>
            <a:srgbClr val="FBAE40"/>
          </p15:clr>
        </p15:guide>
        <p15:guide id="39" pos="3452" userDrawn="1">
          <p15:clr>
            <a:srgbClr val="FBAE40"/>
          </p15:clr>
        </p15:guide>
        <p15:guide id="40" pos="3324" userDrawn="1">
          <p15:clr>
            <a:srgbClr val="FBAE40"/>
          </p15:clr>
        </p15:guide>
        <p15:guide id="41" pos="3196" userDrawn="1">
          <p15:clr>
            <a:srgbClr val="FBAE40"/>
          </p15:clr>
        </p15:guide>
        <p15:guide id="42" pos="3068" userDrawn="1">
          <p15:clr>
            <a:srgbClr val="FBAE40"/>
          </p15:clr>
        </p15:guide>
        <p15:guide id="43" pos="2940" userDrawn="1">
          <p15:clr>
            <a:srgbClr val="FBAE40"/>
          </p15:clr>
        </p15:guide>
        <p15:guide id="44" pos="2812" userDrawn="1">
          <p15:clr>
            <a:srgbClr val="FBAE40"/>
          </p15:clr>
        </p15:guide>
        <p15:guide id="45" pos="2686" userDrawn="1">
          <p15:clr>
            <a:srgbClr val="FBAE40"/>
          </p15:clr>
        </p15:guide>
        <p15:guide id="46" pos="2556" userDrawn="1">
          <p15:clr>
            <a:srgbClr val="FBAE40"/>
          </p15:clr>
        </p15:guide>
        <p15:guide id="47" pos="2430" userDrawn="1">
          <p15:clr>
            <a:srgbClr val="FBAE40"/>
          </p15:clr>
        </p15:guide>
        <p15:guide id="48" pos="2302" userDrawn="1">
          <p15:clr>
            <a:srgbClr val="FBAE40"/>
          </p15:clr>
        </p15:guide>
        <p15:guide id="49" pos="21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9.xml"/><Relationship Id="rId7" Type="http://schemas.openxmlformats.org/officeDocument/2006/relationships/image" Target="../media/image1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8.png"/><Relationship Id="rId5" Type="http://schemas.openxmlformats.org/officeDocument/2006/relationships/image" Target="../media/image14.png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4.wdp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8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5" Type="http://schemas.openxmlformats.org/officeDocument/2006/relationships/image" Target="../media/image61.jp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51.png"/><Relationship Id="rId7" Type="http://schemas.openxmlformats.org/officeDocument/2006/relationships/image" Target="../media/image66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3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7" Type="http://schemas.microsoft.com/office/2007/relationships/hdphoto" Target="../media/hdphoto5.wdp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10" Type="http://schemas.openxmlformats.org/officeDocument/2006/relationships/image" Target="../media/image89.png"/><Relationship Id="rId4" Type="http://schemas.openxmlformats.org/officeDocument/2006/relationships/image" Target="../media/image84.png"/><Relationship Id="rId9" Type="http://schemas.openxmlformats.org/officeDocument/2006/relationships/image" Target="../media/image8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90.png"/><Relationship Id="rId7" Type="http://schemas.openxmlformats.org/officeDocument/2006/relationships/image" Target="../media/image9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20.png"/><Relationship Id="rId5" Type="http://schemas.openxmlformats.org/officeDocument/2006/relationships/image" Target="../media/image92.png"/><Relationship Id="rId10" Type="http://schemas.openxmlformats.org/officeDocument/2006/relationships/image" Target="../media/image96.png"/><Relationship Id="rId4" Type="http://schemas.openxmlformats.org/officeDocument/2006/relationships/image" Target="../media/image91.png"/><Relationship Id="rId9" Type="http://schemas.openxmlformats.org/officeDocument/2006/relationships/image" Target="../media/image9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image" Target="../media/image97.png"/><Relationship Id="rId7" Type="http://schemas.openxmlformats.org/officeDocument/2006/relationships/image" Target="../media/image102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7.jpe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3.jpg"/><Relationship Id="rId5" Type="http://schemas.openxmlformats.org/officeDocument/2006/relationships/image" Target="../media/image790.png"/><Relationship Id="rId4" Type="http://schemas.openxmlformats.org/officeDocument/2006/relationships/image" Target="../media/image11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11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08.png"/><Relationship Id="rId7" Type="http://schemas.openxmlformats.org/officeDocument/2006/relationships/image" Target="../media/image121.emf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20.emf"/><Relationship Id="rId4" Type="http://schemas.openxmlformats.org/officeDocument/2006/relationships/oleObject" Target="../embeddings/oleObject1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6.png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openxmlformats.org/officeDocument/2006/relationships/image" Target="../media/image130.emf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29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3.png"/><Relationship Id="rId5" Type="http://schemas.openxmlformats.org/officeDocument/2006/relationships/image" Target="../media/image94.png"/><Relationship Id="rId4" Type="http://schemas.openxmlformats.org/officeDocument/2006/relationships/image" Target="../media/image13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6.png"/><Relationship Id="rId5" Type="http://schemas.openxmlformats.org/officeDocument/2006/relationships/image" Target="../media/image138.png"/><Relationship Id="rId4" Type="http://schemas.openxmlformats.org/officeDocument/2006/relationships/image" Target="../media/image137.png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microsoft.com/office/2007/relationships/hdphoto" Target="../media/hdphoto2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Relationship Id="rId5" Type="http://schemas.microsoft.com/office/2007/relationships/hdphoto" Target="../media/hdphoto3.wdp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9.jp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20471" y="4016127"/>
            <a:ext cx="2133878" cy="17337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EBBDA7-6903-4965-940D-9CA4BDB6D9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931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79"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EBBDA7-6903-4965-940D-9CA4BDB6D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9CB890-5F47-40B9-B412-C8E4F9E37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Nonlinear Amplification revisited</a:t>
            </a:r>
            <a:br>
              <a:rPr lang="de-DE" smtClean="0"/>
            </a:br>
            <a:r>
              <a:rPr lang="de-DE" sz="1800" smtClean="0"/>
              <a:t>Insights and modelling</a:t>
            </a:r>
            <a:endParaRPr lang="de-DE" sz="1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/>
              <a:t>2nd Workshop on Silicon Sensors for Radiation Detection </a:t>
            </a:r>
            <a:endParaRPr lang="en-US" smtClean="0"/>
          </a:p>
          <a:p>
            <a:pPr>
              <a:spcBef>
                <a:spcPts val="0"/>
              </a:spcBef>
            </a:pPr>
            <a:r>
              <a:rPr lang="en-US" smtClean="0"/>
              <a:t>and </a:t>
            </a:r>
            <a:r>
              <a:rPr lang="en-US"/>
              <a:t>Quantum Applications</a:t>
            </a:r>
          </a:p>
          <a:p>
            <a:pPr>
              <a:lnSpc>
                <a:spcPts val="2200"/>
              </a:lnSpc>
              <a:spcBef>
                <a:spcPts val="0"/>
              </a:spcBef>
            </a:pPr>
            <a:r>
              <a:rPr lang="de-DE" sz="1200" smtClean="0"/>
              <a:t>Berg, 12.05.2025</a:t>
            </a:r>
            <a:endParaRPr lang="de-DE" sz="1200" dirty="0"/>
          </a:p>
        </p:txBody>
      </p:sp>
      <p:pic>
        <p:nvPicPr>
          <p:cNvPr id="6" name="Grafik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8774" y="3072767"/>
            <a:ext cx="2215835" cy="184675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58711" y="2528180"/>
            <a:ext cx="2032108" cy="16420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4300" y="2620927"/>
            <a:ext cx="2150945" cy="173507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2870" y="1926699"/>
            <a:ext cx="2198611" cy="18173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06757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sp>
        <p:nvSpPr>
          <p:cNvPr id="5" name="Textfeld 10"/>
          <p:cNvSpPr txBox="1">
            <a:spLocks noChangeArrowheads="1"/>
          </p:cNvSpPr>
          <p:nvPr/>
        </p:nvSpPr>
        <p:spPr bwMode="auto">
          <a:xfrm>
            <a:off x="870052" y="1292597"/>
            <a:ext cx="5921375" cy="366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 smtClean="0"/>
              <a:t>Example </a:t>
            </a:r>
            <a:r>
              <a:rPr lang="de-DE" altLang="de-DE" sz="1600" b="1"/>
              <a:t>2: </a:t>
            </a:r>
            <a:r>
              <a:rPr lang="de-DE" altLang="de-DE" sz="1600" b="1" smtClean="0"/>
              <a:t>Semilinear gain</a:t>
            </a:r>
            <a:endParaRPr lang="de-DE" altLang="de-DE" sz="1600" b="1"/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/>
              <a:t>Semilinear gain function ansatz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Semilinear gain coefficient (from boundary conditions)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Accuracy function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50"/>
          <a:stretch>
            <a:fillRect/>
          </a:stretch>
        </p:blipFill>
        <p:spPr bwMode="auto">
          <a:xfrm>
            <a:off x="870051" y="2140322"/>
            <a:ext cx="71818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82" y="3322544"/>
            <a:ext cx="31146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16"/>
          <a:stretch/>
        </p:blipFill>
        <p:spPr bwMode="auto">
          <a:xfrm>
            <a:off x="953258" y="4428565"/>
            <a:ext cx="4676775" cy="717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Abgerundetes Rechteck 11"/>
          <p:cNvSpPr/>
          <p:nvPr/>
        </p:nvSpPr>
        <p:spPr>
          <a:xfrm>
            <a:off x="9988062" y="3971580"/>
            <a:ext cx="1726489" cy="1631522"/>
          </a:xfrm>
          <a:prstGeom prst="round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528" y="1111115"/>
            <a:ext cx="3985473" cy="496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174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10"/>
              <p:cNvSpPr txBox="1">
                <a:spLocks noChangeArrowheads="1"/>
              </p:cNvSpPr>
              <p:nvPr/>
            </p:nvSpPr>
            <p:spPr bwMode="auto">
              <a:xfrm>
                <a:off x="846698" y="1427630"/>
                <a:ext cx="4992314" cy="39084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marL="171450" indent="-17145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t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C9DBD8"/>
                  </a:buClr>
                  <a:buFont typeface="Times New Roman" panose="02020603050405020304" pitchFamily="18" charset="0"/>
                  <a:buChar char="●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C9DBD8"/>
                  </a:buClr>
                  <a:buFont typeface="Wingdings 2" panose="05020102010507070707" pitchFamily="18" charset="2"/>
                  <a:buChar char="ö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indent="0"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None/>
                  <a:defRPr/>
                </a:pPr>
                <a:r>
                  <a:rPr lang="de-DE" altLang="de-DE" sz="1600" b="1" smtClean="0"/>
                  <a:t>Other quantities to be calculated:</a:t>
                </a:r>
              </a:p>
              <a:p>
                <a:pPr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altLang="de-DE" sz="1600"/>
                  <a:t>Low energy </a:t>
                </a:r>
                <a:r>
                  <a:rPr lang="de-DE" altLang="de-DE" sz="1600" smtClean="0"/>
                  <a:t>limi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alt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de-DE" altLang="de-DE" sz="1600" b="0" i="1" smtClean="0">
                            <a:latin typeface="Cambria Math" panose="02040503050406030204" pitchFamily="18" charset="0"/>
                          </a:rPr>
                          <m:t>𝑀𝑖𝑛</m:t>
                        </m:r>
                      </m:sub>
                    </m:sSub>
                  </m:oMath>
                </a14:m>
                <a:r>
                  <a:rPr lang="de-DE" altLang="de-DE" sz="1600" smtClean="0"/>
                  <a:t> </a:t>
                </a:r>
                <a:r>
                  <a:rPr lang="de-DE" altLang="de-DE" sz="1600"/>
                  <a:t>(minimum </a:t>
                </a:r>
                <a:r>
                  <a:rPr lang="de-DE" altLang="de-DE" sz="1600" smtClean="0"/>
                  <a:t>stimulus </a:t>
                </a:r>
                <a:r>
                  <a:rPr lang="de-DE" altLang="de-DE" sz="1600"/>
                  <a:t>distinguishable from noise</a:t>
                </a:r>
                <a:r>
                  <a:rPr lang="de-DE" altLang="de-DE" sz="1600" smtClean="0">
                    <a:sym typeface="Wingdings" panose="05000000000000000000" pitchFamily="2" charset="2"/>
                  </a:rPr>
                  <a:t>) with</a:t>
                </a:r>
                <a:endParaRPr lang="de-DE" altLang="de-DE" sz="1600"/>
              </a:p>
              <a:p>
                <a:pPr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Dynamic range:</a:t>
                </a:r>
              </a:p>
              <a:p>
                <a:pPr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Single quantum sensitivity limit</a:t>
                </a:r>
              </a:p>
              <a:p>
                <a:pPr>
                  <a:spcBef>
                    <a:spcPts val="1200"/>
                  </a:spcBef>
                  <a:spcAft>
                    <a:spcPts val="12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46698" y="1427630"/>
                <a:ext cx="4992314" cy="3908425"/>
              </a:xfrm>
              <a:prstGeom prst="rect">
                <a:avLst/>
              </a:prstGeom>
              <a:blipFill>
                <a:blip r:embed="rId2"/>
                <a:stretch>
                  <a:fillRect l="-733" t="-46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11" y="3624730"/>
            <a:ext cx="33432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173" y="2732555"/>
            <a:ext cx="340995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961" y="4783604"/>
            <a:ext cx="3076575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>
              <a:xfrm>
                <a:off x="4811058" y="2213971"/>
                <a:ext cx="1207806" cy="46166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spcAft>
                    <a:spcPts val="1200"/>
                  </a:spcAft>
                </a:pPr>
                <a14:m>
                  <m:oMath xmlns:m="http://schemas.openxmlformats.org/officeDocument/2006/math">
                    <m:r>
                      <a:rPr lang="de-DE" altLang="de-DE" sz="1000" i="1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de-DE" altLang="de-DE" sz="1000" smtClean="0">
                    <a:latin typeface="Calibri" panose="020F0502020204030204" pitchFamily="34" charset="0"/>
                  </a:rPr>
                  <a:t>: noise </a:t>
                </a:r>
                <a:r>
                  <a:rPr lang="de-DE" altLang="de-DE" sz="1000">
                    <a:latin typeface="Calibri" panose="020F0502020204030204" pitchFamily="34" charset="0"/>
                  </a:rPr>
                  <a:t>discrimination factor (application specific)</a:t>
                </a:r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11058" y="2213971"/>
                <a:ext cx="1207806" cy="461665"/>
              </a:xfrm>
              <a:prstGeom prst="rect">
                <a:avLst/>
              </a:prstGeom>
              <a:blipFill>
                <a:blip r:embed="rId6"/>
                <a:stretch>
                  <a:fillRect l="-1515" t="-7895" r="-7071" b="-1710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Ellipse 11"/>
          <p:cNvSpPr/>
          <p:nvPr/>
        </p:nvSpPr>
        <p:spPr>
          <a:xfrm>
            <a:off x="2976282" y="2784223"/>
            <a:ext cx="262966" cy="325795"/>
          </a:xfrm>
          <a:prstGeom prst="ellipse">
            <a:avLst/>
          </a:prstGeom>
          <a:noFill/>
          <a:ln w="3175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cxnSp>
        <p:nvCxnSpPr>
          <p:cNvPr id="13" name="Gerader Verbinder 12"/>
          <p:cNvCxnSpPr/>
          <p:nvPr/>
        </p:nvCxnSpPr>
        <p:spPr>
          <a:xfrm flipV="1">
            <a:off x="3239248" y="2490366"/>
            <a:ext cx="1571810" cy="370541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6614" y="2103903"/>
            <a:ext cx="3637603" cy="267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63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/>
        </p:nvGraphicFramePr>
        <p:xfrm>
          <a:off x="2009778" y="1724025"/>
          <a:ext cx="8420098" cy="356605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467207">
                  <a:extLst>
                    <a:ext uri="{9D8B030D-6E8A-4147-A177-3AD203B41FA5}">
                      <a16:colId xmlns:a16="http://schemas.microsoft.com/office/drawing/2014/main" val="2775284448"/>
                    </a:ext>
                  </a:extLst>
                </a:gridCol>
                <a:gridCol w="3429718">
                  <a:extLst>
                    <a:ext uri="{9D8B030D-6E8A-4147-A177-3AD203B41FA5}">
                      <a16:colId xmlns:a16="http://schemas.microsoft.com/office/drawing/2014/main" val="2288257160"/>
                    </a:ext>
                  </a:extLst>
                </a:gridCol>
                <a:gridCol w="3523173">
                  <a:extLst>
                    <a:ext uri="{9D8B030D-6E8A-4147-A177-3AD203B41FA5}">
                      <a16:colId xmlns:a16="http://schemas.microsoft.com/office/drawing/2014/main" val="2576797664"/>
                    </a:ext>
                  </a:extLst>
                </a:gridCol>
              </a:tblGrid>
              <a:tr h="3905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de-DE" sz="120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near gain function</a:t>
                      </a:r>
                      <a:endParaRPr lang="de-DE" sz="12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milinear gain function</a:t>
                      </a:r>
                      <a:endParaRPr lang="de-DE" sz="12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187081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in function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97015" r="-103197" b="-694030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97015" r="-519" b="-694030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489887528"/>
                  </a:ext>
                </a:extLst>
              </a:tr>
              <a:tr h="5009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in coefficient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167089" r="-103197" b="-488608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167089" r="-519" b="-488608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264511161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ffective calibratio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unction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293056" r="-103197" b="-436111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293056" r="-519" b="-436111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3478643529"/>
                  </a:ext>
                </a:extLst>
              </a:tr>
              <a:tr h="5782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uracy function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297895" r="-103197" b="-230526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297895" r="-519" b="-230526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2599954451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 energy limit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525000" r="-103197" b="-204167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525000" r="-519" b="-204167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3488954418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ynamic range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652174" r="-103197" b="-113043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652174" r="-519" b="-113043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4236856293"/>
                  </a:ext>
                </a:extLst>
              </a:tr>
              <a:tr h="3914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ngle quantum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nsitivity limit</a:t>
                      </a:r>
                      <a:endParaRPr lang="de-DE" sz="1200" b="1" smtClean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5" marR="533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42984" t="-810938" r="-103197" b="-21875"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marL="53335" marR="53335" marT="0" marB="0" anchor="ctr">
                    <a:blipFill>
                      <a:blip r:embed="rId2"/>
                      <a:stretch>
                        <a:fillRect l="-139273" t="-810938" r="-519" b="-21875"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4203663649"/>
                  </a:ext>
                </a:extLst>
              </a:tr>
            </a:tbl>
          </a:graphicData>
        </a:graphic>
      </p:graphicFrame>
      <p:pic>
        <p:nvPicPr>
          <p:cNvPr id="6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7264" y="3516313"/>
            <a:ext cx="3375025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525" y="3500439"/>
            <a:ext cx="3409950" cy="52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7675" y="4062414"/>
            <a:ext cx="18034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0" b="10172"/>
          <a:stretch>
            <a:fillRect/>
          </a:stretch>
        </p:blipFill>
        <p:spPr bwMode="auto">
          <a:xfrm>
            <a:off x="7618414" y="4065588"/>
            <a:ext cx="205422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8664" y="4511675"/>
            <a:ext cx="13747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314" y="4511675"/>
            <a:ext cx="1552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64" y="4943476"/>
            <a:ext cx="144462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313" y="4943476"/>
            <a:ext cx="166211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826" y="2632075"/>
            <a:ext cx="12112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Grafik 1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313" y="2593976"/>
            <a:ext cx="1382712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Grafik 1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514" y="5684839"/>
            <a:ext cx="1412875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14"/>
          <p:cNvSpPr txBox="1">
            <a:spLocks noChangeArrowheads="1"/>
          </p:cNvSpPr>
          <p:nvPr/>
        </p:nvSpPr>
        <p:spPr bwMode="auto">
          <a:xfrm>
            <a:off x="2125663" y="5407026"/>
            <a:ext cx="201771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200">
                <a:latin typeface="Calibri" panose="020F0502020204030204" pitchFamily="34" charset="0"/>
              </a:rPr>
              <a:t>Dynamic range to noise ratio:</a:t>
            </a:r>
          </a:p>
        </p:txBody>
      </p:sp>
      <p:sp>
        <p:nvSpPr>
          <p:cNvPr id="18" name="Textfeld 14"/>
          <p:cNvSpPr txBox="1">
            <a:spLocks noChangeArrowheads="1"/>
          </p:cNvSpPr>
          <p:nvPr/>
        </p:nvSpPr>
        <p:spPr bwMode="auto">
          <a:xfrm>
            <a:off x="5499381" y="5416542"/>
            <a:ext cx="200109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r>
              <a:rPr lang="de-DE" altLang="de-DE" sz="1200" b="1" smtClean="0">
                <a:latin typeface="Calibri" panose="020F0502020204030204" pitchFamily="34" charset="0"/>
              </a:rPr>
              <a:t>Note: </a:t>
            </a:r>
            <a:r>
              <a:rPr lang="de-DE" altLang="de-DE" sz="1200" smtClean="0">
                <a:latin typeface="Calibri" panose="020F0502020204030204" pitchFamily="34" charset="0"/>
              </a:rPr>
              <a:t> </a:t>
            </a:r>
          </a:p>
          <a:p>
            <a:r>
              <a:rPr lang="de-DE" altLang="de-DE" sz="1200" smtClean="0">
                <a:latin typeface="Calibri" panose="020F0502020204030204" pitchFamily="34" charset="0"/>
              </a:rPr>
              <a:t>For most applications, it can be taken for granted that</a:t>
            </a:r>
            <a:endParaRPr lang="de-DE" altLang="de-DE" sz="120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5570066" y="6165893"/>
                <a:ext cx="831766" cy="29495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4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14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1" i="1" smtClean="0">
                                  <a:latin typeface="Cambria Math" panose="02040503050406030204" pitchFamily="18" charset="0"/>
                                </a:rPr>
                                <m:t>𝑨</m:t>
                              </m:r>
                            </m:e>
                            <m:sub>
                              <m:r>
                                <a:rPr lang="de-DE" sz="1400" b="1" i="1" smtClean="0">
                                  <a:latin typeface="Cambria Math" panose="02040503050406030204" pitchFamily="18" charset="0"/>
                                </a:rPr>
                                <m:t>𝑫𝑵𝑹</m:t>
                              </m:r>
                            </m:sub>
                          </m:sSub>
                        </m:num>
                        <m:den>
                          <m:r>
                            <a:rPr lang="de-DE" sz="1400" b="1" i="1" smtClean="0">
                              <a:latin typeface="Cambria Math" panose="02040503050406030204" pitchFamily="18" charset="0"/>
                            </a:rPr>
                            <m:t>𝒏</m:t>
                          </m:r>
                        </m:den>
                      </m:f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≫</m:t>
                      </m:r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𝟏</m:t>
                      </m:r>
                    </m:oMath>
                  </m:oMathPara>
                </a14:m>
                <a:endParaRPr lang="de-DE" sz="1400" b="1" dirty="0" err="1" smtClean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0066" y="6165893"/>
                <a:ext cx="831766" cy="294953"/>
              </a:xfrm>
              <a:prstGeom prst="rect">
                <a:avLst/>
              </a:prstGeom>
              <a:blipFill>
                <a:blip r:embed="rId14"/>
                <a:stretch>
                  <a:fillRect l="-3676" t="-26531" r="-3676" b="-224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0" name="Gruppieren 29"/>
          <p:cNvGrpSpPr/>
          <p:nvPr/>
        </p:nvGrpSpPr>
        <p:grpSpPr>
          <a:xfrm>
            <a:off x="6592583" y="4949016"/>
            <a:ext cx="3811892" cy="283385"/>
            <a:chOff x="6592583" y="4949016"/>
            <a:chExt cx="3811892" cy="283385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65" t="16536" r="8652" b="19778"/>
            <a:stretch/>
          </p:blipFill>
          <p:spPr>
            <a:xfrm>
              <a:off x="6592583" y="4954558"/>
              <a:ext cx="283318" cy="277843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96" t="16536" r="55321" b="19778"/>
            <a:stretch/>
          </p:blipFill>
          <p:spPr>
            <a:xfrm>
              <a:off x="10121157" y="4949016"/>
              <a:ext cx="283318" cy="277843"/>
            </a:xfrm>
            <a:prstGeom prst="rect">
              <a:avLst/>
            </a:prstGeom>
          </p:spPr>
        </p:pic>
      </p:grpSp>
      <p:grpSp>
        <p:nvGrpSpPr>
          <p:cNvPr id="29" name="Gruppieren 28"/>
          <p:cNvGrpSpPr/>
          <p:nvPr/>
        </p:nvGrpSpPr>
        <p:grpSpPr>
          <a:xfrm>
            <a:off x="6592583" y="4557144"/>
            <a:ext cx="3811892" cy="277844"/>
            <a:chOff x="6592583" y="4557144"/>
            <a:chExt cx="3811892" cy="277844"/>
          </a:xfrm>
        </p:grpSpPr>
        <p:pic>
          <p:nvPicPr>
            <p:cNvPr id="22" name="Grafik 21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96" t="16536" r="55321" b="19778"/>
            <a:stretch/>
          </p:blipFill>
          <p:spPr>
            <a:xfrm>
              <a:off x="10121157" y="4557145"/>
              <a:ext cx="283318" cy="277843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65" t="16536" r="8652" b="19778"/>
            <a:stretch/>
          </p:blipFill>
          <p:spPr>
            <a:xfrm>
              <a:off x="6592583" y="4557144"/>
              <a:ext cx="283318" cy="277843"/>
            </a:xfrm>
            <a:prstGeom prst="rect">
              <a:avLst/>
            </a:prstGeom>
          </p:spPr>
        </p:pic>
      </p:grpSp>
      <p:grpSp>
        <p:nvGrpSpPr>
          <p:cNvPr id="28" name="Gruppieren 27"/>
          <p:cNvGrpSpPr/>
          <p:nvPr/>
        </p:nvGrpSpPr>
        <p:grpSpPr>
          <a:xfrm>
            <a:off x="6588971" y="4121929"/>
            <a:ext cx="3815504" cy="277843"/>
            <a:chOff x="6588971" y="4121929"/>
            <a:chExt cx="3815504" cy="277843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65" t="16536" r="8652" b="19778"/>
            <a:stretch/>
          </p:blipFill>
          <p:spPr>
            <a:xfrm>
              <a:off x="6588971" y="4121929"/>
              <a:ext cx="283318" cy="277843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96" t="16536" r="55321" b="19778"/>
            <a:stretch/>
          </p:blipFill>
          <p:spPr>
            <a:xfrm>
              <a:off x="10121157" y="4121929"/>
              <a:ext cx="283318" cy="2778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2553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3</a:t>
            </a:fld>
            <a:endParaRPr lang="de-DE" dirty="0"/>
          </a:p>
        </p:txBody>
      </p:sp>
      <p:pic>
        <p:nvPicPr>
          <p:cNvPr id="7" name="Grafik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1"/>
          <a:stretch/>
        </p:blipFill>
        <p:spPr bwMode="auto">
          <a:xfrm>
            <a:off x="956235" y="1951457"/>
            <a:ext cx="3401454" cy="538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739" y="2645578"/>
            <a:ext cx="3409950" cy="52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10"/>
          <p:cNvSpPr txBox="1">
            <a:spLocks noChangeArrowheads="1"/>
          </p:cNvSpPr>
          <p:nvPr/>
        </p:nvSpPr>
        <p:spPr bwMode="auto">
          <a:xfrm>
            <a:off x="846698" y="1337523"/>
            <a:ext cx="499231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 smtClean="0"/>
              <a:t>Comparison:</a:t>
            </a:r>
          </a:p>
        </p:txBody>
      </p:sp>
      <p:sp>
        <p:nvSpPr>
          <p:cNvPr id="11" name="Textfeld 14"/>
          <p:cNvSpPr txBox="1">
            <a:spLocks noChangeArrowheads="1"/>
          </p:cNvSpPr>
          <p:nvPr/>
        </p:nvSpPr>
        <p:spPr bwMode="auto">
          <a:xfrm>
            <a:off x="1636574" y="3464953"/>
            <a:ext cx="94616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Stimulus error</a:t>
            </a:r>
            <a:endParaRPr lang="de-DE" altLang="de-DE" sz="1200" i="1">
              <a:latin typeface="Calibri" panose="020F0502020204030204" pitchFamily="34" charset="0"/>
            </a:endParaRPr>
          </a:p>
        </p:txBody>
      </p:sp>
      <p:sp>
        <p:nvSpPr>
          <p:cNvPr id="13" name="Textfeld 14"/>
          <p:cNvSpPr txBox="1">
            <a:spLocks noChangeArrowheads="1"/>
          </p:cNvSpPr>
          <p:nvPr/>
        </p:nvSpPr>
        <p:spPr bwMode="auto">
          <a:xfrm>
            <a:off x="2072640" y="3965834"/>
            <a:ext cx="134839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Counting error (Poisson statistics)</a:t>
            </a:r>
            <a:endParaRPr lang="de-DE" altLang="de-DE" sz="1200" i="1">
              <a:latin typeface="Calibri" panose="020F0502020204030204" pitchFamily="34" charset="0"/>
            </a:endParaRPr>
          </a:p>
        </p:txBody>
      </p:sp>
      <p:sp>
        <p:nvSpPr>
          <p:cNvPr id="14" name="Geschweifte Klammer rechts 13"/>
          <p:cNvSpPr/>
          <p:nvPr/>
        </p:nvSpPr>
        <p:spPr>
          <a:xfrm rot="5400000">
            <a:off x="3459755" y="2754798"/>
            <a:ext cx="241899" cy="1130517"/>
          </a:xfrm>
          <a:prstGeom prst="rightBrace">
            <a:avLst>
              <a:gd name="adj1" fmla="val 30131"/>
              <a:gd name="adj2" fmla="val 53023"/>
            </a:avLst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>
            <a:spLocks noChangeArrowheads="1"/>
          </p:cNvSpPr>
          <p:nvPr/>
        </p:nvSpPr>
        <p:spPr bwMode="auto">
          <a:xfrm>
            <a:off x="2837025" y="3464953"/>
            <a:ext cx="134839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Error due to amplifier noise</a:t>
            </a:r>
            <a:endParaRPr lang="de-DE" altLang="de-DE" sz="1200" i="1">
              <a:latin typeface="Calibri" panose="020F0502020204030204" pitchFamily="34" charset="0"/>
            </a:endParaRPr>
          </a:p>
        </p:txBody>
      </p:sp>
      <p:sp>
        <p:nvSpPr>
          <p:cNvPr id="16" name="Textfeld 15"/>
          <p:cNvSpPr txBox="1">
            <a:spLocks noChangeArrowheads="1"/>
          </p:cNvSpPr>
          <p:nvPr/>
        </p:nvSpPr>
        <p:spPr bwMode="auto">
          <a:xfrm>
            <a:off x="4490619" y="1990001"/>
            <a:ext cx="134839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Linear</a:t>
            </a:r>
          </a:p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gain function</a:t>
            </a:r>
          </a:p>
        </p:txBody>
      </p:sp>
      <p:sp>
        <p:nvSpPr>
          <p:cNvPr id="17" name="Textfeld 16"/>
          <p:cNvSpPr txBox="1">
            <a:spLocks noChangeArrowheads="1"/>
          </p:cNvSpPr>
          <p:nvPr/>
        </p:nvSpPr>
        <p:spPr bwMode="auto">
          <a:xfrm>
            <a:off x="4490619" y="2654839"/>
            <a:ext cx="134839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Semilinear</a:t>
            </a:r>
          </a:p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gain function</a:t>
            </a:r>
            <a:endParaRPr lang="de-DE" altLang="de-DE" sz="1200" i="1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1055009" y="4657729"/>
                <a:ext cx="3657331" cy="294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14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de-DE" sz="1400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de-DE" sz="1400" b="1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de-DE" sz="1400" b="1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400" b="1" i="1">
                                          <a:latin typeface="Cambria Math" panose="02040503050406030204" pitchFamily="18" charset="0"/>
                                        </a:rPr>
                                        <m:t>𝑵</m:t>
                                      </m:r>
                                    </m:e>
                                    <m:sub>
                                      <m:r>
                                        <a:rPr lang="de-DE" sz="1400" b="1" i="1">
                                          <a:latin typeface="Cambria Math" panose="02040503050406030204" pitchFamily="18" charset="0"/>
                                        </a:rPr>
                                        <m:t>𝑴𝒂𝒙</m:t>
                                      </m:r>
                                    </m:sub>
                                  </m:sSub>
                                </m:num>
                                <m:den>
                                  <m:r>
                                    <a:rPr lang="de-DE" sz="1400" b="1" i="1">
                                      <a:latin typeface="Cambria Math" panose="02040503050406030204" pitchFamily="18" charset="0"/>
                                    </a:rPr>
                                    <m:t>𝑵</m:t>
                                  </m:r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de-DE" sz="14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p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𝟒</m:t>
                      </m:r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1" i="1">
                                  <a:latin typeface="Cambria Math" panose="02040503050406030204" pitchFamily="18" charset="0"/>
                                </a:rPr>
                                <m:t>𝑵</m:t>
                              </m:r>
                            </m:e>
                            <m:sub>
                              <m:r>
                                <a:rPr lang="de-DE" sz="1400" b="1" i="1">
                                  <a:latin typeface="Cambria Math" panose="02040503050406030204" pitchFamily="18" charset="0"/>
                                </a:rPr>
                                <m:t>𝑴𝒂𝒙</m:t>
                              </m:r>
                            </m:sub>
                          </m:sSub>
                        </m:num>
                        <m:den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𝑵</m:t>
                          </m:r>
                        </m:den>
                      </m:f>
                    </m:oMath>
                  </m:oMathPara>
                </a14:m>
                <a:endParaRPr lang="de-DE" sz="1400" b="1" dirty="0" err="1" smtClean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5009" y="4657729"/>
                <a:ext cx="3657331" cy="294953"/>
              </a:xfrm>
              <a:prstGeom prst="rect">
                <a:avLst/>
              </a:prstGeom>
              <a:blipFill>
                <a:blip r:embed="rId4"/>
                <a:stretch>
                  <a:fillRect t="-37500" b="-3125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feld 18"/>
          <p:cNvSpPr txBox="1">
            <a:spLocks noChangeArrowheads="1"/>
          </p:cNvSpPr>
          <p:nvPr/>
        </p:nvSpPr>
        <p:spPr bwMode="auto">
          <a:xfrm>
            <a:off x="792351" y="4649443"/>
            <a:ext cx="13483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Break-even at</a:t>
            </a:r>
            <a:endParaRPr lang="de-DE" altLang="de-DE" sz="1200" i="1">
              <a:latin typeface="Calibri" panose="020F0502020204030204" pitchFamily="34" charset="0"/>
            </a:endParaRPr>
          </a:p>
        </p:txBody>
      </p:sp>
      <p:sp>
        <p:nvSpPr>
          <p:cNvPr id="20" name="Pfeil nach rechts 19"/>
          <p:cNvSpPr/>
          <p:nvPr/>
        </p:nvSpPr>
        <p:spPr>
          <a:xfrm>
            <a:off x="3857759" y="4741212"/>
            <a:ext cx="344542" cy="127985"/>
          </a:xfrm>
          <a:prstGeom prst="rightArrow">
            <a:avLst/>
          </a:prstGeom>
          <a:solidFill>
            <a:srgbClr val="C00000"/>
          </a:solidFill>
          <a:ln w="3175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feld 20"/>
              <p:cNvSpPr txBox="1"/>
              <p:nvPr/>
            </p:nvSpPr>
            <p:spPr>
              <a:xfrm>
                <a:off x="2835809" y="4678490"/>
                <a:ext cx="3753062" cy="294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𝑵</m:t>
                      </m:r>
                      <m:r>
                        <a:rPr lang="de-DE" sz="14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400" b="1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sz="14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400" b="1" i="1">
                                  <a:latin typeface="Cambria Math" panose="02040503050406030204" pitchFamily="18" charset="0"/>
                                </a:rPr>
                                <m:t>𝑵</m:t>
                              </m:r>
                            </m:e>
                            <m:sub>
                              <m:r>
                                <a:rPr lang="de-DE" sz="1400" b="1" i="1">
                                  <a:latin typeface="Cambria Math" panose="02040503050406030204" pitchFamily="18" charset="0"/>
                                </a:rPr>
                                <m:t>𝑴𝒂𝒙</m:t>
                              </m:r>
                            </m:sub>
                          </m:sSub>
                        </m:num>
                        <m:den>
                          <m:r>
                            <a:rPr lang="de-DE" sz="1400" b="1" i="1" smtClean="0">
                              <a:latin typeface="Cambria Math" panose="02040503050406030204" pitchFamily="18" charset="0"/>
                            </a:rPr>
                            <m:t>𝟒</m:t>
                          </m:r>
                        </m:den>
                      </m:f>
                    </m:oMath>
                  </m:oMathPara>
                </a14:m>
                <a:endParaRPr lang="de-DE" sz="1400" b="1" dirty="0" err="1" smtClean="0"/>
              </a:p>
            </p:txBody>
          </p:sp>
        </mc:Choice>
        <mc:Fallback xmlns="">
          <p:sp>
            <p:nvSpPr>
              <p:cNvPr id="21" name="Textfeld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5809" y="4678490"/>
                <a:ext cx="3753062" cy="294953"/>
              </a:xfrm>
              <a:prstGeom prst="rect">
                <a:avLst/>
              </a:prstGeom>
              <a:blipFill>
                <a:blip r:embed="rId5"/>
                <a:stretch>
                  <a:fillRect t="-26531" b="-2653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Geschweifte Klammer rechts 23"/>
          <p:cNvSpPr/>
          <p:nvPr/>
        </p:nvSpPr>
        <p:spPr>
          <a:xfrm rot="5400000">
            <a:off x="2029184" y="2977567"/>
            <a:ext cx="241899" cy="678527"/>
          </a:xfrm>
          <a:prstGeom prst="rightBrace">
            <a:avLst>
              <a:gd name="adj1" fmla="val 30131"/>
              <a:gd name="adj2" fmla="val 53023"/>
            </a:avLst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eschweifte Klammer rechts 24"/>
          <p:cNvSpPr/>
          <p:nvPr/>
        </p:nvSpPr>
        <p:spPr>
          <a:xfrm rot="5400000">
            <a:off x="2671561" y="3115343"/>
            <a:ext cx="161613" cy="339263"/>
          </a:xfrm>
          <a:prstGeom prst="rightBrace">
            <a:avLst>
              <a:gd name="adj1" fmla="val 12837"/>
              <a:gd name="adj2" fmla="val 51261"/>
            </a:avLst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6" name="Gerader Verbinder 25"/>
          <p:cNvCxnSpPr/>
          <p:nvPr/>
        </p:nvCxnSpPr>
        <p:spPr>
          <a:xfrm>
            <a:off x="2746837" y="3464953"/>
            <a:ext cx="0" cy="500881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0" name="Textfeld 29"/>
              <p:cNvSpPr txBox="1">
                <a:spLocks noChangeArrowheads="1"/>
              </p:cNvSpPr>
              <p:nvPr/>
            </p:nvSpPr>
            <p:spPr bwMode="auto">
              <a:xfrm>
                <a:off x="846698" y="5156672"/>
                <a:ext cx="6920786" cy="923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altLang="de-DE" sz="1200" smtClean="0">
                    <a:latin typeface="Calibri" panose="020F0502020204030204" pitchFamily="34" charset="0"/>
                  </a:rPr>
                  <a:t>For smaller </a:t>
                </a:r>
                <a14:m>
                  <m:oMath xmlns:m="http://schemas.openxmlformats.org/officeDocument/2006/math">
                    <m:r>
                      <a:rPr lang="de-DE" altLang="de-DE" sz="1200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altLang="de-DE" sz="1200" smtClean="0">
                    <a:latin typeface="Calibri" panose="020F0502020204030204" pitchFamily="34" charset="0"/>
                  </a:rPr>
                  <a:t>, the accuracy for the semilinear gain function is higher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altLang="de-DE" sz="1200" smtClean="0">
                    <a:latin typeface="Calibri" panose="020F0502020204030204" pitchFamily="34" charset="0"/>
                  </a:rPr>
                  <a:t>For larger </a:t>
                </a:r>
                <a14:m>
                  <m:oMath xmlns:m="http://schemas.openxmlformats.org/officeDocument/2006/math">
                    <m:r>
                      <a:rPr lang="de-DE" altLang="de-DE" sz="1200" i="1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altLang="de-DE" sz="1200" smtClean="0">
                    <a:latin typeface="Calibri" panose="020F0502020204030204" pitchFamily="34" charset="0"/>
                  </a:rPr>
                  <a:t>, the accuracy for the linear gain function is </a:t>
                </a:r>
                <a:r>
                  <a:rPr lang="de-DE" altLang="de-DE" sz="1200" smtClean="0">
                    <a:latin typeface="Calibri" panose="020F0502020204030204" pitchFamily="34" charset="0"/>
                  </a:rPr>
                  <a:t>higher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de-DE" altLang="de-DE" sz="1200" smtClean="0">
                    <a:latin typeface="Calibri" panose="020F0502020204030204" pitchFamily="34" charset="0"/>
                  </a:rPr>
                  <a:t>For </a:t>
                </a:r>
                <a14:m>
                  <m:oMath xmlns:m="http://schemas.openxmlformats.org/officeDocument/2006/math">
                    <m:r>
                      <a:rPr lang="de-DE" altLang="de-DE" sz="1200" b="0" i="1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de-DE" altLang="de-DE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0</m:t>
                    </m:r>
                  </m:oMath>
                </a14:m>
                <a:r>
                  <a:rPr lang="de-DE" altLang="de-DE" sz="1200" smtClean="0">
                    <a:latin typeface="Calibri" panose="020F0502020204030204" pitchFamily="34" charset="0"/>
                  </a:rPr>
                  <a:t>, the ASF for the linear GF stays constant, while the ASF for the semilinear GF drops to 0.</a:t>
                </a:r>
                <a:endParaRPr lang="de-DE" altLang="de-DE" sz="1200">
                  <a:latin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30" name="Textfeld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46698" y="5156672"/>
                <a:ext cx="6920786" cy="923330"/>
              </a:xfrm>
              <a:prstGeom prst="rect">
                <a:avLst/>
              </a:prstGeom>
              <a:blipFill>
                <a:blip r:embed="rId6"/>
                <a:stretch>
                  <a:fillRect b="-1987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1" name="Grafik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6545" y="1536788"/>
            <a:ext cx="5382722" cy="4092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" name="Gerader Verbinder 31"/>
          <p:cNvCxnSpPr/>
          <p:nvPr/>
        </p:nvCxnSpPr>
        <p:spPr>
          <a:xfrm flipH="1">
            <a:off x="8104280" y="2813538"/>
            <a:ext cx="1252" cy="982396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14"/>
          <p:cNvSpPr txBox="1">
            <a:spLocks noChangeArrowheads="1"/>
          </p:cNvSpPr>
          <p:nvPr/>
        </p:nvSpPr>
        <p:spPr bwMode="auto">
          <a:xfrm>
            <a:off x="7658837" y="2362202"/>
            <a:ext cx="83973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000" b="1" smtClean="0">
                <a:latin typeface="Calibri" panose="020F0502020204030204" pitchFamily="34" charset="0"/>
              </a:rPr>
              <a:t>Break-even at 25</a:t>
            </a:r>
            <a:endParaRPr lang="de-DE" altLang="de-DE" sz="1000" b="1" i="1">
              <a:latin typeface="Calibri" panose="020F0502020204030204" pitchFamily="34" charset="0"/>
            </a:endParaRPr>
          </a:p>
        </p:txBody>
      </p:sp>
      <p:cxnSp>
        <p:nvCxnSpPr>
          <p:cNvPr id="5" name="Gerader Verbinder 4"/>
          <p:cNvCxnSpPr/>
          <p:nvPr/>
        </p:nvCxnSpPr>
        <p:spPr>
          <a:xfrm>
            <a:off x="3685110" y="3174215"/>
            <a:ext cx="437208" cy="0"/>
          </a:xfrm>
          <a:prstGeom prst="line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>
          <a:xfrm>
            <a:off x="3926165" y="3204168"/>
            <a:ext cx="786175" cy="233612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>
            <a:spLocks noChangeArrowheads="1"/>
          </p:cNvSpPr>
          <p:nvPr/>
        </p:nvSpPr>
        <p:spPr bwMode="auto">
          <a:xfrm>
            <a:off x="4442751" y="3469166"/>
            <a:ext cx="170969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altLang="de-DE" sz="1200" smtClean="0">
                <a:latin typeface="Calibri" panose="020F0502020204030204" pitchFamily="34" charset="0"/>
              </a:rPr>
              <a:t>This term also shows up in every gain function</a:t>
            </a:r>
            <a:endParaRPr lang="de-DE" altLang="de-DE" sz="1200" i="1">
              <a:latin typeface="Calibri" panose="020F0502020204030204" pitchFamily="34" charset="0"/>
            </a:endParaRPr>
          </a:p>
        </p:txBody>
      </p:sp>
      <p:cxnSp>
        <p:nvCxnSpPr>
          <p:cNvPr id="33" name="Gerader Verbinder 32"/>
          <p:cNvCxnSpPr/>
          <p:nvPr/>
        </p:nvCxnSpPr>
        <p:spPr>
          <a:xfrm>
            <a:off x="3015446" y="3174215"/>
            <a:ext cx="590999" cy="0"/>
          </a:xfrm>
          <a:prstGeom prst="line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/>
          <p:nvPr/>
        </p:nvCxnSpPr>
        <p:spPr>
          <a:xfrm>
            <a:off x="3606445" y="3217032"/>
            <a:ext cx="845559" cy="722055"/>
          </a:xfrm>
          <a:prstGeom prst="line">
            <a:avLst/>
          </a:prstGeom>
          <a:ln w="3175" cmpd="sng">
            <a:solidFill>
              <a:srgbClr val="92D05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/>
              <p:cNvSpPr txBox="1">
                <a:spLocks noChangeArrowheads="1"/>
              </p:cNvSpPr>
              <p:nvPr/>
            </p:nvSpPr>
            <p:spPr bwMode="auto">
              <a:xfrm>
                <a:off x="4202301" y="3997749"/>
                <a:ext cx="1709694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mic Sans MS" panose="030F0702030302020204" pitchFamily="66" charset="0"/>
                    <a:cs typeface="Arial" panose="020B0604020202020204" pitchFamily="34" charset="0"/>
                  </a:defRPr>
                </a:lvl9pPr>
              </a:lstStyle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de-DE" altLang="de-DE" sz="12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altLang="de-DE" sz="12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de-DE" altLang="de-DE" sz="1200" b="0" i="1" smtClean="0">
                            <a:latin typeface="Cambria Math" panose="02040503050406030204" pitchFamily="18" charset="0"/>
                          </a:rPr>
                          <m:t>𝐷𝑁𝑅</m:t>
                        </m:r>
                        <m:r>
                          <a:rPr lang="de-DE" altLang="de-DE" sz="12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</m:oMath>
                </a14:m>
                <a:r>
                  <a:rPr lang="de-DE" altLang="de-DE" sz="1200" smtClean="0">
                    <a:latin typeface="Calibri" panose="020F0502020204030204" pitchFamily="34" charset="0"/>
                  </a:rPr>
                  <a:t> scaling factor (ASF)</a:t>
                </a:r>
                <a:endParaRPr lang="de-DE" altLang="de-DE" sz="1200" i="1">
                  <a:latin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36" name="Textfeld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202301" y="3997749"/>
                <a:ext cx="1709694" cy="461665"/>
              </a:xfrm>
              <a:prstGeom prst="rect">
                <a:avLst/>
              </a:prstGeom>
              <a:blipFill>
                <a:blip r:embed="rId8"/>
                <a:stretch>
                  <a:fillRect t="-1316" b="-9211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5761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4</a:t>
            </a:fld>
            <a:endParaRPr lang="de-DE" dirty="0"/>
          </a:p>
        </p:txBody>
      </p:sp>
      <p:sp>
        <p:nvSpPr>
          <p:cNvPr id="5" name="Textfeld 10"/>
          <p:cNvSpPr txBox="1">
            <a:spLocks noChangeArrowheads="1"/>
          </p:cNvSpPr>
          <p:nvPr/>
        </p:nvSpPr>
        <p:spPr bwMode="auto">
          <a:xfrm>
            <a:off x="846698" y="1427630"/>
            <a:ext cx="4992314" cy="477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 smtClean="0"/>
              <a:t>Conclusion: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 smtClean="0"/>
              <a:t>Choosing a gain function is about distributing output dynamic range to accuracy of retrieved stimulus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 b="1" smtClean="0"/>
              <a:t>Zero-sum situation:</a:t>
            </a:r>
            <a:r>
              <a:rPr lang="de-DE" altLang="de-DE" sz="1600" smtClean="0"/>
              <a:t> Achieving high accuracy in one stimulus region yields lower accuracy in other regions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 smtClean="0"/>
              <a:t>Accuracy function has Poisson error as built-in limitation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 smtClean="0"/>
              <a:t>There is no „generic“, or optimal, gain function. It‘s all about user requirements and priorities.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Parameters: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200">
                <a:ea typeface="Times New Roman" panose="02020603050405020304" pitchFamily="18" charset="0"/>
                <a:cs typeface="Times New Roman" panose="02020603050405020304" pitchFamily="18" charset="0"/>
              </a:rPr>
              <a:t>Input stimulus and input stimulus „error</a:t>
            </a:r>
            <a:r>
              <a:rPr lang="de-DE" sz="12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2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Maximum requested stimulus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2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Minimum stimulus to be detected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2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Maximum output Amplitude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2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de-DE" sz="1200" baseline="-250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DNR</a:t>
            </a:r>
          </a:p>
        </p:txBody>
      </p:sp>
      <p:pic>
        <p:nvPicPr>
          <p:cNvPr id="6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077" y="1526731"/>
            <a:ext cx="5392615" cy="4222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1898" y="1079039"/>
            <a:ext cx="2258033" cy="385342"/>
          </a:xfrm>
          <a:prstGeom prst="rect">
            <a:avLst/>
          </a:prstGeom>
        </p:spPr>
      </p:pic>
      <p:cxnSp>
        <p:nvCxnSpPr>
          <p:cNvPr id="8" name="Gerade Verbindung mit Pfeil 7"/>
          <p:cNvCxnSpPr>
            <a:stCxn id="11" idx="2"/>
          </p:cNvCxnSpPr>
          <p:nvPr/>
        </p:nvCxnSpPr>
        <p:spPr>
          <a:xfrm>
            <a:off x="9684930" y="1658503"/>
            <a:ext cx="1041436" cy="344856"/>
          </a:xfrm>
          <a:prstGeom prst="straightConnector1">
            <a:avLst/>
          </a:prstGeom>
          <a:ln w="19050" cmpd="sng">
            <a:solidFill>
              <a:schemeClr val="tx2">
                <a:lumMod val="75000"/>
                <a:lumOff val="25000"/>
              </a:schemeClr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hteck 8"/>
              <p:cNvSpPr/>
              <p:nvPr/>
            </p:nvSpPr>
            <p:spPr>
              <a:xfrm>
                <a:off x="5204469" y="781378"/>
                <a:ext cx="1980134" cy="2943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spcBef>
                    <a:spcPts val="0"/>
                  </a:spcBef>
                  <a:spcAft>
                    <a:spcPts val="1200"/>
                  </a:spcAft>
                  <a:buClr>
                    <a:schemeClr val="hlink"/>
                  </a:buClr>
                  <a:defRPr/>
                </a:pPr>
                <a:r>
                  <a:rPr lang="de-DE" sz="12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„Tertilinear“: </a:t>
                </a:r>
                <a14:m>
                  <m:oMath xmlns:m="http://schemas.openxmlformats.org/officeDocument/2006/math">
                    <m:rad>
                      <m:radPr>
                        <m:ctrlPr>
                          <a:rPr lang="de-DE" sz="12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radPr>
                      <m:deg>
                        <m:r>
                          <m:rPr>
                            <m:brk m:alnAt="7"/>
                          </m:rPr>
                          <a:rPr lang="de-DE" sz="12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3</m:t>
                        </m:r>
                      </m:deg>
                      <m:e>
                        <m:r>
                          <a:rPr lang="de-DE" sz="12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𝑟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∙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𝑆</m:t>
                        </m:r>
                      </m:e>
                    </m:rad>
                  </m:oMath>
                </a14:m>
                <a:endParaRPr lang="de-DE" sz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9" name="Rechteck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4469" y="781378"/>
                <a:ext cx="1980134" cy="294376"/>
              </a:xfrm>
              <a:prstGeom prst="rect">
                <a:avLst/>
              </a:prstGeom>
              <a:blipFill>
                <a:blip r:embed="rId4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hteck 9"/>
              <p:cNvSpPr/>
              <p:nvPr/>
            </p:nvSpPr>
            <p:spPr>
              <a:xfrm>
                <a:off x="7684544" y="903500"/>
                <a:ext cx="3361031" cy="3860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spcBef>
                    <a:spcPts val="0"/>
                  </a:spcBef>
                  <a:spcAft>
                    <a:spcPts val="1200"/>
                  </a:spcAft>
                  <a:buClr>
                    <a:schemeClr val="hlink"/>
                  </a:buClr>
                  <a:defRPr/>
                </a:pPr>
                <a:r>
                  <a:rPr lang="de-DE" sz="12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„Sine “: </a:t>
                </a:r>
                <a14:m>
                  <m:oMath xmlns:m="http://schemas.openxmlformats.org/officeDocument/2006/math">
                    <m:r>
                      <a:rPr lang="de-DE" sz="120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𝑘</m:t>
                    </m:r>
                    <m:r>
                      <a:rPr lang="de-DE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∙</m:t>
                    </m:r>
                    <m:func>
                      <m:funcPr>
                        <m:ctrlP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DE" sz="120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sin</m:t>
                        </m:r>
                      </m:fName>
                      <m:e>
                        <m:d>
                          <m:dPr>
                            <m:ctrlPr>
                              <a:rPr lang="de-DE" sz="12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2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𝜋</m:t>
                                </m:r>
                              </m:num>
                              <m:den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den>
                            </m:f>
                            <m:r>
                              <a:rPr lang="de-D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∙</m:t>
                            </m:r>
                            <m:f>
                              <m:fPr>
                                <m:ctrlPr>
                                  <a:rPr lang="de-D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sz="12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𝑆</m:t>
                                </m:r>
                              </m:num>
                              <m:den>
                                <m:sSub>
                                  <m:sSubPr>
                                    <m:ctrlPr>
                                      <a:rPr lang="de-DE" sz="12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de-DE" sz="12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  <m:t>𝑀𝑎𝑥</m:t>
                                    </m:r>
                                  </m:sub>
                                </m:sSub>
                              </m:den>
                            </m:f>
                          </m:e>
                        </m:d>
                      </m:e>
                    </m:func>
                  </m:oMath>
                </a14:m>
                <a:endParaRPr lang="de-DE" sz="1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0" name="Rechteck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4544" y="903500"/>
                <a:ext cx="3361031" cy="3860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Grafik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8619" y="1248356"/>
            <a:ext cx="2972621" cy="410147"/>
          </a:xfrm>
          <a:prstGeom prst="rect">
            <a:avLst/>
          </a:prstGeom>
        </p:spPr>
      </p:pic>
      <p:cxnSp>
        <p:nvCxnSpPr>
          <p:cNvPr id="17" name="Gerade Verbindung mit Pfeil 16"/>
          <p:cNvCxnSpPr/>
          <p:nvPr/>
        </p:nvCxnSpPr>
        <p:spPr>
          <a:xfrm>
            <a:off x="7881689" y="1500919"/>
            <a:ext cx="1483370" cy="1430749"/>
          </a:xfrm>
          <a:prstGeom prst="straightConnector1">
            <a:avLst/>
          </a:prstGeom>
          <a:ln w="19050" cmpd="sng">
            <a:solidFill>
              <a:srgbClr val="00B0F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182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EPFET and nonlinear amPlifica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5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878" y="1567898"/>
            <a:ext cx="3873098" cy="412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01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EPFET and NLA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6</a:t>
            </a:fld>
            <a:endParaRPr lang="de-DE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947739" y="1394617"/>
            <a:ext cx="5242854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534988" indent="-263525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  <a:spcAft>
                <a:spcPts val="600"/>
              </a:spcAft>
              <a:buClrTx/>
              <a:defRPr/>
            </a:pP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Calibri" pitchFamily="34" charset="0"/>
              </a:rPr>
              <a:t>DEPFET </a:t>
            </a:r>
            <a:r>
              <a:rPr lang="de-DE" altLang="de-DE" sz="1600" b="1" dirty="0" err="1">
                <a:latin typeface="Calibri" pitchFamily="34" charset="0"/>
                <a:ea typeface="MS Mincho" pitchFamily="49" charset="-128"/>
                <a:cs typeface="Calibri" pitchFamily="34" charset="0"/>
              </a:rPr>
              <a:t>integrated</a:t>
            </a: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Calibri" pitchFamily="34" charset="0"/>
              </a:rPr>
              <a:t> </a:t>
            </a:r>
            <a:r>
              <a:rPr lang="de-DE" altLang="de-DE" sz="1600" b="1" dirty="0" err="1">
                <a:latin typeface="Calibri" pitchFamily="34" charset="0"/>
                <a:ea typeface="MS Mincho" pitchFamily="49" charset="-128"/>
                <a:cs typeface="Calibri" pitchFamily="34" charset="0"/>
              </a:rPr>
              <a:t>amplifier</a:t>
            </a:r>
            <a:endParaRPr lang="en-US" altLang="de-DE" sz="1600" b="1" dirty="0">
              <a:latin typeface="Calibri" pitchFamily="34" charset="0"/>
              <a:ea typeface="MS Mincho" pitchFamily="49" charset="-128"/>
              <a:cs typeface="Calibri" pitchFamily="34" charset="0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  <a:cs typeface="Calibri" pitchFamily="34" charset="0"/>
              </a:rPr>
              <a:t>p-channel FET on depleted n-bulk</a:t>
            </a: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Signal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harge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ollected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in potential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minimum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below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FET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hannel</a:t>
            </a:r>
            <a:endParaRPr lang="de-DE" altLang="de-DE" sz="1600" dirty="0">
              <a:latin typeface="Calibri" pitchFamily="34" charset="0"/>
              <a:ea typeface="MS Mincho" pitchFamily="49" charset="-128"/>
              <a:cs typeface="Droid Sans Fallback"/>
              <a:sym typeface="Wingdings 3" pitchFamily="18" charset="2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"Internal </a:t>
            </a:r>
            <a:r>
              <a:rPr lang="de-DE" altLang="de-DE" sz="1600" b="1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gate</a:t>
            </a: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"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, l</a:t>
            </a: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ow capacitance &amp; noise</a:t>
            </a:r>
            <a:endParaRPr lang="de-DE" altLang="de-DE" sz="1600" b="1" dirty="0">
              <a:latin typeface="Calibri" pitchFamily="34" charset="0"/>
              <a:ea typeface="MS Mincho" pitchFamily="49" charset="-128"/>
              <a:cs typeface="Droid Sans Fallback"/>
              <a:sym typeface="Wingdings 3" pitchFamily="18" charset="2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FET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urrent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modulation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≥ 300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pA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/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el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.</a:t>
            </a:r>
            <a:endParaRPr lang="en-US" altLang="de-DE" sz="1600" dirty="0">
              <a:latin typeface="Calibri" pitchFamily="34" charset="0"/>
              <a:ea typeface="MS Mincho" pitchFamily="49" charset="-128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Reset via </a:t>
            </a:r>
            <a:r>
              <a:rPr lang="en-US" altLang="de-DE" sz="1600" dirty="0" err="1">
                <a:latin typeface="Calibri" pitchFamily="34" charset="0"/>
                <a:ea typeface="MS Mincho" pitchFamily="49" charset="-128"/>
              </a:rPr>
              <a:t>clearFET</a:t>
            </a:r>
            <a:endParaRPr lang="en-US" altLang="de-DE" sz="1600" dirty="0">
              <a:latin typeface="Calibri" pitchFamily="34" charset="0"/>
              <a:ea typeface="MS Mincho" pitchFamily="49" charset="-128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Charge storage</a:t>
            </a: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Readout on demand </a:t>
            </a: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Rolling shutter mod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086599" y="1346200"/>
            <a:ext cx="4157664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sz="1600" b="1" dirty="0">
                <a:latin typeface="Calibri" panose="020F0502020204030204" pitchFamily="34" charset="0"/>
              </a:rPr>
              <a:t>EDET </a:t>
            </a:r>
            <a:r>
              <a:rPr lang="de-DE" sz="1600" b="1" dirty="0" err="1">
                <a:latin typeface="Calibri" panose="020F0502020204030204" pitchFamily="34" charset="0"/>
              </a:rPr>
              <a:t>pixels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Dynamic </a:t>
            </a:r>
            <a:r>
              <a:rPr lang="de-DE" sz="1600" dirty="0" err="1">
                <a:latin typeface="Calibri" panose="020F0502020204030204" pitchFamily="34" charset="0"/>
              </a:rPr>
              <a:t>rang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problem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Implemen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ignal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mpression</a:t>
            </a:r>
            <a:r>
              <a:rPr lang="de-DE" sz="1600" dirty="0">
                <a:latin typeface="Calibri" panose="020F0502020204030204" pitchFamily="34" charset="0"/>
              </a:rPr>
              <a:t> in </a:t>
            </a:r>
            <a:r>
              <a:rPr lang="de-DE" sz="1600" dirty="0" err="1">
                <a:latin typeface="Calibri" panose="020F0502020204030204" pitchFamily="34" charset="0"/>
              </a:rPr>
              <a:t>pixel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Overflow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ourc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ailor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ynamic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range</a:t>
            </a:r>
            <a:endParaRPr lang="de-DE" sz="1600" dirty="0">
              <a:latin typeface="Calibri" panose="020F0502020204030204" pitchFamily="34" charset="0"/>
            </a:endParaRPr>
          </a:p>
        </p:txBody>
      </p:sp>
      <p:grpSp>
        <p:nvGrpSpPr>
          <p:cNvPr id="7" name="Group 38"/>
          <p:cNvGrpSpPr>
            <a:grpSpLocks/>
          </p:cNvGrpSpPr>
          <p:nvPr/>
        </p:nvGrpSpPr>
        <p:grpSpPr bwMode="auto">
          <a:xfrm>
            <a:off x="3543624" y="3688555"/>
            <a:ext cx="3089881" cy="2567070"/>
            <a:chOff x="3362" y="2047"/>
            <a:chExt cx="2113" cy="1829"/>
          </a:xfrm>
        </p:grpSpPr>
        <p:pic>
          <p:nvPicPr>
            <p:cNvPr id="8" name="Picture 39" descr="depmos_lin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2" y="2047"/>
              <a:ext cx="2113" cy="18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0" descr="pdrai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6" y="2358"/>
              <a:ext cx="397" cy="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1" descr="psourc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" y="2217"/>
              <a:ext cx="503" cy="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7315201" y="3142502"/>
            <a:ext cx="4004440" cy="2648698"/>
            <a:chOff x="7315201" y="3142502"/>
            <a:chExt cx="4004440" cy="2648698"/>
          </a:xfrm>
        </p:grpSpPr>
        <p:grpSp>
          <p:nvGrpSpPr>
            <p:cNvPr id="21" name="Gruppieren 20"/>
            <p:cNvGrpSpPr/>
            <p:nvPr/>
          </p:nvGrpSpPr>
          <p:grpSpPr>
            <a:xfrm>
              <a:off x="7315201" y="4712281"/>
              <a:ext cx="4004440" cy="1078919"/>
              <a:chOff x="8646246" y="2722179"/>
              <a:chExt cx="3494023" cy="1204977"/>
            </a:xfrm>
          </p:grpSpPr>
          <p:pic>
            <p:nvPicPr>
              <p:cNvPr id="23" name="Picture 2" descr="C:\Users\jot710\Desktop\DYN.png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9571"/>
              <a:stretch/>
            </p:blipFill>
            <p:spPr bwMode="auto">
              <a:xfrm>
                <a:off x="8646246" y="2722179"/>
                <a:ext cx="3494021" cy="12049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echteck 6"/>
              <p:cNvSpPr>
                <a:spLocks noChangeArrowheads="1"/>
              </p:cNvSpPr>
              <p:nvPr/>
            </p:nvSpPr>
            <p:spPr bwMode="auto">
              <a:xfrm>
                <a:off x="10019058" y="3215128"/>
                <a:ext cx="2121211" cy="154195"/>
              </a:xfrm>
              <a:prstGeom prst="rect">
                <a:avLst/>
              </a:prstGeom>
              <a:solidFill>
                <a:srgbClr val="FFFFFF">
                  <a:alpha val="7490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266700" indent="-266700">
                  <a:spcBef>
                    <a:spcPct val="20000"/>
                  </a:spcBef>
                  <a:buClr>
                    <a:schemeClr val="tx1"/>
                  </a:buClr>
                  <a:defRPr sz="16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Wingdings 3" panose="05040102010807070707" pitchFamily="18" charset="2"/>
                  <a:buChar char="w"/>
                  <a:defRPr sz="14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5pPr>
                <a:lvl6pPr marL="25146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6pPr>
                <a:lvl7pPr marL="29718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7pPr>
                <a:lvl8pPr marL="34290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8pPr>
                <a:lvl9pPr marL="38862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9pPr>
              </a:lstStyle>
              <a:p>
                <a:pPr>
                  <a:lnSpc>
                    <a:spcPct val="80000"/>
                  </a:lnSpc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endParaRPr lang="de-DE" altLang="de-DE" sz="1800">
                  <a:latin typeface="Comic Sans MS" panose="030F0702030302020204" pitchFamily="66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Rechteck 10"/>
              <p:cNvSpPr>
                <a:spLocks noChangeArrowheads="1"/>
              </p:cNvSpPr>
              <p:nvPr/>
            </p:nvSpPr>
            <p:spPr bwMode="auto">
              <a:xfrm>
                <a:off x="10019058" y="3369321"/>
                <a:ext cx="1665772" cy="93096"/>
              </a:xfrm>
              <a:prstGeom prst="rect">
                <a:avLst/>
              </a:prstGeom>
              <a:solidFill>
                <a:srgbClr val="FFFFFF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266700" indent="-266700">
                  <a:spcBef>
                    <a:spcPct val="20000"/>
                  </a:spcBef>
                  <a:buClr>
                    <a:schemeClr val="tx1"/>
                  </a:buClr>
                  <a:defRPr sz="16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Wingdings 3" panose="05040102010807070707" pitchFamily="18" charset="2"/>
                  <a:buChar char="w"/>
                  <a:defRPr sz="14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5pPr>
                <a:lvl6pPr marL="25146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6pPr>
                <a:lvl7pPr marL="29718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7pPr>
                <a:lvl8pPr marL="34290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8pPr>
                <a:lvl9pPr marL="38862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9pPr>
              </a:lstStyle>
              <a:p>
                <a:pPr>
                  <a:lnSpc>
                    <a:spcPct val="80000"/>
                  </a:lnSpc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endParaRPr lang="de-DE" altLang="de-DE" sz="1800">
                  <a:latin typeface="Comic Sans MS" panose="030F0702030302020204" pitchFamily="66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Rechteck 11"/>
              <p:cNvSpPr>
                <a:spLocks noChangeArrowheads="1"/>
              </p:cNvSpPr>
              <p:nvPr/>
            </p:nvSpPr>
            <p:spPr bwMode="auto">
              <a:xfrm>
                <a:off x="10019058" y="3462415"/>
                <a:ext cx="1287188" cy="93096"/>
              </a:xfrm>
              <a:prstGeom prst="rect">
                <a:avLst/>
              </a:prstGeom>
              <a:solidFill>
                <a:srgbClr val="FFFFFF">
                  <a:alpha val="2509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266700" indent="-266700">
                  <a:spcBef>
                    <a:spcPct val="20000"/>
                  </a:spcBef>
                  <a:buClr>
                    <a:schemeClr val="tx1"/>
                  </a:buClr>
                  <a:defRPr sz="16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Wingdings 3" panose="05040102010807070707" pitchFamily="18" charset="2"/>
                  <a:buChar char="w"/>
                  <a:defRPr sz="14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5pPr>
                <a:lvl6pPr marL="25146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6pPr>
                <a:lvl7pPr marL="29718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7pPr>
                <a:lvl8pPr marL="34290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8pPr>
                <a:lvl9pPr marL="38862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9pPr>
              </a:lstStyle>
              <a:p>
                <a:pPr>
                  <a:lnSpc>
                    <a:spcPct val="80000"/>
                  </a:lnSpc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endParaRPr lang="de-DE" altLang="de-DE" sz="1800">
                  <a:latin typeface="Comic Sans MS" panose="030F0702030302020204" pitchFamily="66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7" name="Gerade Verbindung 12"/>
              <p:cNvCxnSpPr/>
              <p:nvPr/>
            </p:nvCxnSpPr>
            <p:spPr bwMode="auto">
              <a:xfrm>
                <a:off x="9989696" y="3157795"/>
                <a:ext cx="97274" cy="497818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" name="Gerade Verbindung 16"/>
              <p:cNvCxnSpPr/>
              <p:nvPr/>
            </p:nvCxnSpPr>
            <p:spPr bwMode="auto">
              <a:xfrm flipH="1">
                <a:off x="10954556" y="3561869"/>
                <a:ext cx="23663" cy="93744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" name="Gerade Verbindung 20"/>
              <p:cNvCxnSpPr/>
              <p:nvPr/>
            </p:nvCxnSpPr>
            <p:spPr bwMode="auto">
              <a:xfrm flipH="1">
                <a:off x="11306851" y="3468125"/>
                <a:ext cx="23663" cy="93746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" name="Gerade Verbindung 29"/>
              <p:cNvCxnSpPr/>
              <p:nvPr/>
            </p:nvCxnSpPr>
            <p:spPr bwMode="auto">
              <a:xfrm flipH="1">
                <a:off x="11672415" y="3380840"/>
                <a:ext cx="26291" cy="93744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22" name="Picture 2" descr="C:\Users\jot710\Desktop\DYN.p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3576"/>
            <a:stretch/>
          </p:blipFill>
          <p:spPr bwMode="auto">
            <a:xfrm>
              <a:off x="7315202" y="3142502"/>
              <a:ext cx="3928800" cy="1471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7621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EPFET and NLA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  <p:grpSp>
        <p:nvGrpSpPr>
          <p:cNvPr id="6" name="Gruppieren 43"/>
          <p:cNvGrpSpPr>
            <a:grpSpLocks/>
          </p:cNvGrpSpPr>
          <p:nvPr/>
        </p:nvGrpSpPr>
        <p:grpSpPr bwMode="auto">
          <a:xfrm>
            <a:off x="1485086" y="1272207"/>
            <a:ext cx="2886075" cy="2484437"/>
            <a:chOff x="481672" y="3309909"/>
            <a:chExt cx="3420932" cy="2944519"/>
          </a:xfrm>
        </p:grpSpPr>
        <p:pic>
          <p:nvPicPr>
            <p:cNvPr id="7" name="Grafik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25" y="3587516"/>
              <a:ext cx="3092979" cy="2360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feld 42"/>
            <p:cNvSpPr txBox="1">
              <a:spLocks noChangeArrowheads="1"/>
            </p:cNvSpPr>
            <p:nvPr/>
          </p:nvSpPr>
          <p:spPr bwMode="auto">
            <a:xfrm>
              <a:off x="1700213" y="5962651"/>
              <a:ext cx="1394945" cy="291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Signal charge (Me</a:t>
              </a:r>
              <a:r>
                <a:rPr lang="de-DE" altLang="de-DE" sz="1000" baseline="30000"/>
                <a:t>-</a:t>
              </a:r>
              <a:r>
                <a:rPr lang="de-DE" altLang="de-DE" sz="1000"/>
                <a:t>)</a:t>
              </a:r>
            </a:p>
          </p:txBody>
        </p:sp>
        <p:sp>
          <p:nvSpPr>
            <p:cNvPr id="9" name="Textfeld 50"/>
            <p:cNvSpPr txBox="1">
              <a:spLocks noChangeArrowheads="1"/>
            </p:cNvSpPr>
            <p:nvPr/>
          </p:nvSpPr>
          <p:spPr bwMode="auto">
            <a:xfrm rot="-5400000">
              <a:off x="-176131" y="4596500"/>
              <a:ext cx="1607437" cy="291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Drain current (100 µA)</a:t>
              </a:r>
            </a:p>
          </p:txBody>
        </p:sp>
        <p:sp>
          <p:nvSpPr>
            <p:cNvPr id="10" name="Textfeld 51"/>
            <p:cNvSpPr txBox="1">
              <a:spLocks noChangeArrowheads="1"/>
            </p:cNvSpPr>
            <p:nvPr/>
          </p:nvSpPr>
          <p:spPr bwMode="auto">
            <a:xfrm>
              <a:off x="1486211" y="3309909"/>
              <a:ext cx="1892732" cy="291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Response curve (V</a:t>
              </a:r>
              <a:r>
                <a:rPr lang="de-DE" altLang="de-DE" sz="1000" baseline="-25000"/>
                <a:t>DS</a:t>
              </a:r>
              <a:r>
                <a:rPr lang="de-DE" altLang="de-DE" sz="1000"/>
                <a:t> = -5 V)</a:t>
              </a:r>
            </a:p>
          </p:txBody>
        </p:sp>
      </p:grp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2332836" y="3091518"/>
            <a:ext cx="1301750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>
                <a:solidFill>
                  <a:srgbClr val="000000"/>
                </a:solidFill>
                <a:ea typeface="Droid Sans Fallback"/>
                <a:cs typeface="Droid Sans Fallback"/>
              </a:rPr>
              <a:t>Primary OF "Kink"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3294430" y="2603588"/>
            <a:ext cx="757236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CHC limit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  <p:cxnSp>
        <p:nvCxnSpPr>
          <p:cNvPr id="13" name="Gerade Verbindung 11275"/>
          <p:cNvCxnSpPr>
            <a:cxnSpLocks noChangeShapeType="1"/>
          </p:cNvCxnSpPr>
          <p:nvPr/>
        </p:nvCxnSpPr>
        <p:spPr bwMode="auto">
          <a:xfrm flipH="1" flipV="1">
            <a:off x="3424687" y="2415156"/>
            <a:ext cx="74497" cy="188433"/>
          </a:xfrm>
          <a:prstGeom prst="line">
            <a:avLst/>
          </a:prstGeom>
          <a:noFill/>
          <a:ln w="9525" algn="ctr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11278"/>
          <p:cNvCxnSpPr>
            <a:cxnSpLocks noChangeShapeType="1"/>
            <a:stCxn id="11" idx="1"/>
          </p:cNvCxnSpPr>
          <p:nvPr/>
        </p:nvCxnSpPr>
        <p:spPr bwMode="auto">
          <a:xfrm flipH="1" flipV="1">
            <a:off x="1965683" y="3119404"/>
            <a:ext cx="367153" cy="111814"/>
          </a:xfrm>
          <a:prstGeom prst="line">
            <a:avLst/>
          </a:prstGeom>
          <a:noFill/>
          <a:ln w="9525" algn="ctr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mit Pfeil 11263"/>
          <p:cNvCxnSpPr>
            <a:cxnSpLocks noChangeShapeType="1"/>
            <a:endCxn id="16" idx="2"/>
          </p:cNvCxnSpPr>
          <p:nvPr/>
        </p:nvCxnSpPr>
        <p:spPr bwMode="auto">
          <a:xfrm flipV="1">
            <a:off x="2210952" y="2097086"/>
            <a:ext cx="9441" cy="1224333"/>
          </a:xfrm>
          <a:prstGeom prst="straightConnector1">
            <a:avLst/>
          </a:prstGeom>
          <a:noFill/>
          <a:ln w="9525" algn="ctr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 Box 6"/>
          <p:cNvSpPr txBox="1">
            <a:spLocks noChangeArrowheads="1"/>
          </p:cNvSpPr>
          <p:nvPr/>
        </p:nvSpPr>
        <p:spPr bwMode="auto">
          <a:xfrm>
            <a:off x="1786728" y="1633240"/>
            <a:ext cx="867330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Secondary 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"Kink„?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  <p:grpSp>
        <p:nvGrpSpPr>
          <p:cNvPr id="17" name="Gruppieren 44"/>
          <p:cNvGrpSpPr>
            <a:grpSpLocks/>
          </p:cNvGrpSpPr>
          <p:nvPr/>
        </p:nvGrpSpPr>
        <p:grpSpPr bwMode="auto">
          <a:xfrm>
            <a:off x="1485085" y="3925950"/>
            <a:ext cx="3104303" cy="2526611"/>
            <a:chOff x="3654889" y="4021890"/>
            <a:chExt cx="3377971" cy="2699386"/>
          </a:xfrm>
        </p:grpSpPr>
        <p:pic>
          <p:nvPicPr>
            <p:cNvPr id="18" name="Grafik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1131" y="4269569"/>
              <a:ext cx="2832299" cy="2145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feld 53"/>
            <p:cNvSpPr txBox="1">
              <a:spLocks noChangeArrowheads="1"/>
            </p:cNvSpPr>
            <p:nvPr/>
          </p:nvSpPr>
          <p:spPr bwMode="auto">
            <a:xfrm>
              <a:off x="4867274" y="6434139"/>
              <a:ext cx="1373334" cy="287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Signal charge (Me</a:t>
              </a:r>
              <a:r>
                <a:rPr lang="de-DE" altLang="de-DE" sz="1000" baseline="30000"/>
                <a:t>-</a:t>
              </a:r>
              <a:r>
                <a:rPr lang="de-DE" altLang="de-DE" sz="1000"/>
                <a:t>)</a:t>
              </a:r>
            </a:p>
          </p:txBody>
        </p:sp>
        <p:sp>
          <p:nvSpPr>
            <p:cNvPr id="20" name="Textfeld 54"/>
            <p:cNvSpPr txBox="1">
              <a:spLocks noChangeArrowheads="1"/>
            </p:cNvSpPr>
            <p:nvPr/>
          </p:nvSpPr>
          <p:spPr bwMode="auto">
            <a:xfrm rot="-5400000">
              <a:off x="3112295" y="5151532"/>
              <a:ext cx="1372500" cy="287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Signal charge (Me</a:t>
              </a:r>
              <a:r>
                <a:rPr lang="de-DE" altLang="de-DE" sz="1000" baseline="30000"/>
                <a:t>-</a:t>
              </a:r>
              <a:r>
                <a:rPr lang="de-DE" altLang="de-DE" sz="1000"/>
                <a:t>)</a:t>
              </a:r>
            </a:p>
          </p:txBody>
        </p:sp>
        <p:sp>
          <p:nvSpPr>
            <p:cNvPr id="21" name="Textfeld 55"/>
            <p:cNvSpPr txBox="1">
              <a:spLocks noChangeArrowheads="1"/>
            </p:cNvSpPr>
            <p:nvPr/>
          </p:nvSpPr>
          <p:spPr bwMode="auto">
            <a:xfrm>
              <a:off x="4200523" y="4021890"/>
              <a:ext cx="2832337" cy="287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Charge distribution (VGS = -3 V, VDS = -5 V)</a:t>
              </a:r>
            </a:p>
          </p:txBody>
        </p:sp>
      </p:grpSp>
      <p:sp>
        <p:nvSpPr>
          <p:cNvPr id="2" name="Rechteck 1"/>
          <p:cNvSpPr/>
          <p:nvPr/>
        </p:nvSpPr>
        <p:spPr>
          <a:xfrm>
            <a:off x="4195099" y="461316"/>
            <a:ext cx="18882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ponse curve, or Charge-current </a:t>
            </a:r>
            <a:r>
              <a:rPr lang="de-DE" sz="12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C2)-</a:t>
            </a:r>
            <a:r>
              <a:rPr lang="de-DE" sz="1200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rve</a:t>
            </a:r>
            <a:endParaRPr lang="de-DE" sz="12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3" name="Gerade Verbindung mit Pfeil 22"/>
          <p:cNvCxnSpPr>
            <a:stCxn id="2" idx="2"/>
          </p:cNvCxnSpPr>
          <p:nvPr/>
        </p:nvCxnSpPr>
        <p:spPr>
          <a:xfrm flipH="1">
            <a:off x="4087395" y="922981"/>
            <a:ext cx="1051827" cy="1265518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402"/>
          <a:stretch/>
        </p:blipFill>
        <p:spPr>
          <a:xfrm>
            <a:off x="5793682" y="328706"/>
            <a:ext cx="5220206" cy="6111583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546052" y="4003850"/>
            <a:ext cx="779982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smtClean="0"/>
              <a:t>OV1</a:t>
            </a:r>
            <a:endParaRPr lang="de-DE" sz="1600" dirty="0" err="1" smtClean="0"/>
          </a:p>
        </p:txBody>
      </p:sp>
      <p:sp>
        <p:nvSpPr>
          <p:cNvPr id="24" name="Textfeld 23"/>
          <p:cNvSpPr txBox="1"/>
          <p:nvPr/>
        </p:nvSpPr>
        <p:spPr>
          <a:xfrm>
            <a:off x="4829098" y="5325431"/>
            <a:ext cx="612877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smtClean="0"/>
              <a:t>OV2</a:t>
            </a:r>
            <a:endParaRPr lang="de-DE" sz="1600" dirty="0" err="1" smtClean="0"/>
          </a:p>
        </p:txBody>
      </p:sp>
      <p:cxnSp>
        <p:nvCxnSpPr>
          <p:cNvPr id="26" name="Gerade Verbindung mit Pfeil 25"/>
          <p:cNvCxnSpPr/>
          <p:nvPr/>
        </p:nvCxnSpPr>
        <p:spPr>
          <a:xfrm flipH="1">
            <a:off x="4195100" y="4249189"/>
            <a:ext cx="394288" cy="177346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/>
          <p:nvPr/>
        </p:nvCxnSpPr>
        <p:spPr>
          <a:xfrm flipV="1">
            <a:off x="5185186" y="2658848"/>
            <a:ext cx="2116545" cy="1345002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V="1">
            <a:off x="5185186" y="2589402"/>
            <a:ext cx="3656350" cy="1414448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flipH="1">
            <a:off x="4152036" y="5539428"/>
            <a:ext cx="677062" cy="168001"/>
          </a:xfrm>
          <a:prstGeom prst="straightConnector1">
            <a:avLst/>
          </a:prstGeom>
          <a:ln w="19050" cmpd="sng">
            <a:solidFill>
              <a:srgbClr val="00B0F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/>
          <p:cNvCxnSpPr/>
          <p:nvPr/>
        </p:nvCxnSpPr>
        <p:spPr>
          <a:xfrm flipV="1">
            <a:off x="5365241" y="2576504"/>
            <a:ext cx="2677546" cy="2702579"/>
          </a:xfrm>
          <a:prstGeom prst="straightConnector1">
            <a:avLst/>
          </a:prstGeom>
          <a:ln w="19050" cmpd="sng">
            <a:solidFill>
              <a:srgbClr val="00B0F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188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The man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𝐬</m:t>
                    </m:r>
                  </m:oMath>
                </a14:m>
                <a:r>
                  <a:rPr lang="de-DE"/>
                  <a:t> of the DEPFET </a:t>
                </a:r>
                <a:r>
                  <a:rPr lang="de-DE" smtClean="0"/>
                  <a:t> </a:t>
                </a:r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8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/>
              <p:cNvSpPr txBox="1"/>
              <p:nvPr/>
            </p:nvSpPr>
            <p:spPr>
              <a:xfrm>
                <a:off x="830740" y="1246326"/>
                <a:ext cx="6122534" cy="10023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Simple </a:t>
                </a:r>
                <a:r>
                  <a:rPr lang="de-DE" sz="1600" smtClean="0">
                    <a:latin typeface="Calibri" panose="020F0502020204030204" pitchFamily="34" charset="0"/>
                  </a:rPr>
                  <a:t>voltage depending capacitive </a:t>
                </a:r>
                <a:r>
                  <a:rPr lang="de-DE" sz="1600" smtClean="0">
                    <a:latin typeface="Calibri" panose="020F0502020204030204" pitchFamily="34" charset="0"/>
                  </a:rPr>
                  <a:t>model w/ 3 zones </a:t>
                </a: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Constant </a:t>
                </a:r>
                <a:r>
                  <a:rPr lang="de-DE" sz="1600" smtClean="0">
                    <a:latin typeface="Calibri" panose="020F0502020204030204" pitchFamily="34" charset="0"/>
                  </a:rPr>
                  <a:t>„generic“ defaul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of IG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Only charge in „internal gate“ contributes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𝐷𝑆</m:t>
                        </m:r>
                      </m:sub>
                    </m:sSub>
                  </m:oMath>
                </a14:m>
                <a:endParaRPr lang="de-DE" sz="1600">
                  <a:latin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740" y="1246326"/>
                <a:ext cx="6122534" cy="1002326"/>
              </a:xfrm>
              <a:prstGeom prst="rect">
                <a:avLst/>
              </a:prstGeom>
              <a:blipFill>
                <a:blip r:embed="rId3"/>
                <a:stretch>
                  <a:fillRect l="-398" t="-1818" b="-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739" y="2515900"/>
            <a:ext cx="2722969" cy="86036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8705" y="2461527"/>
            <a:ext cx="2906572" cy="97910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3255" y="5278171"/>
            <a:ext cx="2695510" cy="98850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7"/>
          <a:srcRect r="19438"/>
          <a:stretch/>
        </p:blipFill>
        <p:spPr>
          <a:xfrm>
            <a:off x="883255" y="3527321"/>
            <a:ext cx="4321791" cy="159979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7"/>
          <a:srcRect l="80939"/>
          <a:stretch/>
        </p:blipFill>
        <p:spPr>
          <a:xfrm>
            <a:off x="5483774" y="3527321"/>
            <a:ext cx="1022546" cy="15997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hteck 13"/>
              <p:cNvSpPr/>
              <p:nvPr/>
            </p:nvSpPr>
            <p:spPr>
              <a:xfrm>
                <a:off x="8084318" y="5534137"/>
                <a:ext cx="3062633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de-DE" sz="1200" b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Here, 3 steps in </a:t>
                </a:r>
                <a:r>
                  <a:rPr lang="de-DE" sz="1200" b="1" i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d>
                      <m:dPr>
                        <m:ctrlP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b="1" i="1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b="1" i="1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𝒒</m:t>
                            </m:r>
                          </m:e>
                          <m:sub>
                            <m:r>
                              <a:rPr lang="de-DE" sz="1200" b="1" i="1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𝒔𝒊𝒈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b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an be expected!</a:t>
                </a:r>
                <a:endParaRPr lang="de-DE" sz="1200" b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4" name="Rechteck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84318" y="5534137"/>
                <a:ext cx="3062633" cy="307777"/>
              </a:xfrm>
              <a:prstGeom prst="rect">
                <a:avLst/>
              </a:prstGeom>
              <a:blipFill>
                <a:blip r:embed="rId9"/>
                <a:stretch>
                  <a:fillRect b="-12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Grafik 6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53274" y="667773"/>
            <a:ext cx="5072655" cy="4279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41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The man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𝐬</m:t>
                    </m:r>
                  </m:oMath>
                </a14:m>
                <a:r>
                  <a:rPr lang="de-DE"/>
                  <a:t> of the DEPFET </a:t>
                </a:r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975" y="993120"/>
            <a:ext cx="3689670" cy="318433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739" y="1398917"/>
            <a:ext cx="6028558" cy="126509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8490" y="2951654"/>
            <a:ext cx="3766868" cy="55855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/>
              <p:cNvSpPr txBox="1"/>
              <p:nvPr/>
            </p:nvSpPr>
            <p:spPr>
              <a:xfrm>
                <a:off x="766796" y="2664010"/>
                <a:ext cx="5217024" cy="351070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Common defini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But behold the quantity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This quantity is also often used because of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Same dimension, but the quantities are identical only in small signal mode or for devices w/o NLA.</a:t>
                </a:r>
                <a:endParaRPr lang="de-DE" sz="1600">
                  <a:latin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Textfeld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6796" y="2664010"/>
                <a:ext cx="5217024" cy="3510705"/>
              </a:xfrm>
              <a:prstGeom prst="rect">
                <a:avLst/>
              </a:prstGeom>
              <a:blipFill>
                <a:blip r:embed="rId6"/>
                <a:stretch>
                  <a:fillRect l="-467" t="-347" b="-13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8490" y="3984717"/>
            <a:ext cx="1974975" cy="53097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490" y="4939815"/>
            <a:ext cx="2654870" cy="46171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 10"/>
              <p:cNvSpPr/>
              <p:nvPr/>
            </p:nvSpPr>
            <p:spPr>
              <a:xfrm>
                <a:off x="5021399" y="3578507"/>
                <a:ext cx="2128668" cy="4924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de-DE" sz="1200" b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„D</a:t>
                </a:r>
                <a:r>
                  <a:rPr lang="de-DE" sz="1200" b="1" i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fferential“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d>
                      <m:dPr>
                        <m:ctrlPr>
                          <a:rPr lang="de-DE" sz="1200" b="1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b="1" i="1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b="1" i="1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𝒒</m:t>
                            </m:r>
                          </m:e>
                          <m:sub>
                            <m:r>
                              <a:rPr lang="de-DE" sz="1200" b="1" i="1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𝒔𝒊𝒈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b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(Local</a:t>
                </a:r>
                <a:r>
                  <a:rPr lang="de-DE" sz="1200" b="1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) slope of the </a:t>
                </a:r>
                <a:r>
                  <a:rPr lang="de-DE" sz="1200" b="1" smtClean="0">
                    <a:solidFill>
                      <a:srgbClr val="C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2-curve!</a:t>
                </a:r>
                <a:endParaRPr lang="de-DE" sz="1200" b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1" name="Rechteck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1399" y="3578507"/>
                <a:ext cx="2128668" cy="492443"/>
              </a:xfrm>
              <a:prstGeom prst="rect">
                <a:avLst/>
              </a:prstGeom>
              <a:blipFill>
                <a:blip r:embed="rId9"/>
                <a:stretch>
                  <a:fillRect l="-287" b="-864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hteck 11"/>
              <p:cNvSpPr/>
              <p:nvPr/>
            </p:nvSpPr>
            <p:spPr>
              <a:xfrm>
                <a:off x="5060097" y="4311156"/>
                <a:ext cx="2408900" cy="694677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de-DE" sz="1200" b="1" i="1" smtClean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„Integral“</a:t>
                </a:r>
                <a:r>
                  <a:rPr lang="de-DE" sz="1200" b="1" smtClean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de-DE" sz="1200" b="1" i="1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200" b="1" i="1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𝒈</m:t>
                            </m:r>
                          </m:e>
                        </m:acc>
                      </m:e>
                      <m:sub>
                        <m:r>
                          <a:rPr lang="de-DE" sz="1200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d>
                      <m:dPr>
                        <m:ctrlPr>
                          <a:rPr lang="de-DE" sz="1200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200" b="1" i="1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200" b="1" i="1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𝒒</m:t>
                            </m:r>
                          </m:e>
                          <m:sub>
                            <m:r>
                              <a:rPr lang="de-DE" sz="1200" b="1" i="1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𝒔𝒊𝒈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200" b="1" smtClean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             average </a:t>
                </a:r>
                <a:r>
                  <a:rPr lang="de-DE" sz="1200" b="1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slope </a:t>
                </a:r>
                <a:r>
                  <a:rPr lang="de-DE" sz="1200" b="1" smtClean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or charge </a:t>
                </a:r>
                <a:r>
                  <a:rPr lang="de-DE" sz="1200" b="1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nterval between </a:t>
                </a:r>
                <a14:m>
                  <m:oMath xmlns:m="http://schemas.openxmlformats.org/officeDocument/2006/math">
                    <m:r>
                      <a:rPr lang="de-DE" sz="1200" b="1" i="1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de-DE" sz="1200" b="1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200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200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𝒒</m:t>
                        </m:r>
                      </m:e>
                      <m:sub>
                        <m:r>
                          <a:rPr lang="de-DE" sz="1200" b="1" i="1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𝒔𝒊𝒈</m:t>
                        </m:r>
                      </m:sub>
                    </m:sSub>
                  </m:oMath>
                </a14:m>
                <a:r>
                  <a:rPr lang="de-DE" sz="1200" b="1" smtClean="0">
                    <a:solidFill>
                      <a:srgbClr val="00B05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 </a:t>
                </a:r>
                <a:endParaRPr lang="de-DE" sz="1200" b="1">
                  <a:solidFill>
                    <a:srgbClr val="00B05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2" name="Rechteck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0097" y="4311156"/>
                <a:ext cx="2408900" cy="694677"/>
              </a:xfrm>
              <a:prstGeom prst="rect">
                <a:avLst/>
              </a:prstGeom>
              <a:blipFill>
                <a:blip r:embed="rId10"/>
                <a:stretch>
                  <a:fillRect b="-4386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Gerade Verbindung mit Pfeil 13"/>
          <p:cNvCxnSpPr/>
          <p:nvPr/>
        </p:nvCxnSpPr>
        <p:spPr>
          <a:xfrm flipH="1" flipV="1">
            <a:off x="3222781" y="4221876"/>
            <a:ext cx="1837316" cy="436618"/>
          </a:xfrm>
          <a:prstGeom prst="straightConnector1">
            <a:avLst/>
          </a:prstGeom>
          <a:ln w="19050" cmpd="sng">
            <a:solidFill>
              <a:srgbClr val="00B05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flipH="1" flipV="1">
            <a:off x="3375309" y="3425949"/>
            <a:ext cx="1646090" cy="398779"/>
          </a:xfrm>
          <a:prstGeom prst="straightConnector1">
            <a:avLst/>
          </a:prstGeom>
          <a:ln w="19050" cmpd="sng">
            <a:solidFill>
              <a:srgbClr val="C0000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9043626" y="5015206"/>
            <a:ext cx="15838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y cause confusion if mistaken!</a:t>
            </a:r>
            <a:endParaRPr lang="de-DE" sz="1200" b="1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3" name="Gerade Verbindung mit Pfeil 22"/>
          <p:cNvCxnSpPr>
            <a:stCxn id="22" idx="1"/>
          </p:cNvCxnSpPr>
          <p:nvPr/>
        </p:nvCxnSpPr>
        <p:spPr>
          <a:xfrm flipH="1" flipV="1">
            <a:off x="7068031" y="4070950"/>
            <a:ext cx="1975595" cy="1175089"/>
          </a:xfrm>
          <a:prstGeom prst="straightConnector1">
            <a:avLst/>
          </a:prstGeom>
          <a:ln w="19050" cmpd="sng">
            <a:solidFill>
              <a:srgbClr val="FFC00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1"/>
          </p:cNvCxnSpPr>
          <p:nvPr/>
        </p:nvCxnSpPr>
        <p:spPr>
          <a:xfrm flipH="1" flipV="1">
            <a:off x="7350558" y="4770228"/>
            <a:ext cx="1693068" cy="475811"/>
          </a:xfrm>
          <a:prstGeom prst="straightConnector1">
            <a:avLst/>
          </a:prstGeom>
          <a:ln w="19050" cmpd="sng">
            <a:solidFill>
              <a:srgbClr val="FFC00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689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EDET DH80K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815576" y="1410655"/>
            <a:ext cx="497677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pPr algn="l"/>
            <a:r>
              <a:rPr lang="de-DE" sz="2400" kern="0"/>
              <a:t>1 MPixel direct hit electron detector with 80 kHz framerate</a:t>
            </a:r>
          </a:p>
        </p:txBody>
      </p:sp>
      <p:sp>
        <p:nvSpPr>
          <p:cNvPr id="6" name="Untertitel 2"/>
          <p:cNvSpPr txBox="1">
            <a:spLocks/>
          </p:cNvSpPr>
          <p:nvPr/>
        </p:nvSpPr>
        <p:spPr bwMode="auto">
          <a:xfrm>
            <a:off x="842639" y="3416770"/>
            <a:ext cx="5162550" cy="131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812800" indent="-812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168400" indent="-7112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524000" indent="-609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796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3368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940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6pPr>
            <a:lvl7pPr marL="32512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7pPr>
            <a:lvl8pPr marL="37084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8pPr>
            <a:lvl9pPr marL="41656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J. Treis, L. Andricek, M. Hensel, C. Koffmane, J. Ninkovic, M. Polovykh, M. Predikaka, E. Prinker,  R. Richter</a:t>
            </a:r>
            <a:r>
              <a:rPr lang="de-DE" altLang="de-DE" sz="1600" b="1" kern="0" smtClean="0"/>
              <a:t>, M. Rizwan, </a:t>
            </a:r>
            <a:r>
              <a:rPr lang="de-DE" altLang="de-DE" sz="1600" b="1" kern="0"/>
              <a:t>T. Selle, A. Vostrukhin</a:t>
            </a:r>
          </a:p>
          <a:p>
            <a:pPr marL="0" indent="0">
              <a:buNone/>
            </a:pPr>
            <a:r>
              <a:rPr lang="de-DE" altLang="de-DE" sz="1200" kern="0"/>
              <a:t>MPG Semiconductor Laboratory</a:t>
            </a:r>
          </a:p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S. Epp, D. Gitaric</a:t>
            </a:r>
          </a:p>
          <a:p>
            <a:pPr marL="0" indent="0">
              <a:buNone/>
            </a:pPr>
            <a:r>
              <a:rPr lang="de-DE" altLang="de-DE" sz="1200" kern="0"/>
              <a:t>MPSD Hamburg</a:t>
            </a:r>
          </a:p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I. Peric</a:t>
            </a:r>
          </a:p>
          <a:p>
            <a:pPr marL="0" indent="0">
              <a:buNone/>
            </a:pPr>
            <a:r>
              <a:rPr lang="de-DE" altLang="de-DE" sz="1200" kern="0"/>
              <a:t>KIT Karlsruhe</a:t>
            </a:r>
          </a:p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T. Hemperek, H. Krüger</a:t>
            </a:r>
          </a:p>
          <a:p>
            <a:pPr marL="0" indent="0">
              <a:buNone/>
            </a:pPr>
            <a:r>
              <a:rPr lang="de-DE" altLang="de-DE" sz="1200" kern="0"/>
              <a:t>Bonn </a:t>
            </a:r>
            <a:r>
              <a:rPr lang="de-DE" altLang="de-DE" sz="1200" kern="0" smtClean="0"/>
              <a:t>University</a:t>
            </a:r>
            <a:endParaRPr lang="de-DE" altLang="de-DE" sz="1200" kern="0"/>
          </a:p>
          <a:p>
            <a:pPr marL="0" indent="0">
              <a:buNone/>
            </a:pPr>
            <a:endParaRPr lang="de-DE" altLang="de-DE" sz="1200" kern="0"/>
          </a:p>
        </p:txBody>
      </p:sp>
      <p:sp>
        <p:nvSpPr>
          <p:cNvPr id="8" name="Rechteck 7"/>
          <p:cNvSpPr/>
          <p:nvPr/>
        </p:nvSpPr>
        <p:spPr>
          <a:xfrm>
            <a:off x="815576" y="2306288"/>
            <a:ext cx="57008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smtClean="0">
                <a:solidFill>
                  <a:srgbClr val="005555"/>
                </a:solidFill>
                <a:latin typeface="Calibri" panose="020F0502020204030204" pitchFamily="34" charset="0"/>
              </a:rPr>
              <a:t>Applying the principle of </a:t>
            </a:r>
            <a:r>
              <a:rPr lang="de-DE" sz="2000" b="1" smtClean="0">
                <a:solidFill>
                  <a:srgbClr val="005555"/>
                </a:solidFill>
                <a:latin typeface="Calibri" panose="020F0502020204030204" pitchFamily="34" charset="0"/>
              </a:rPr>
              <a:t>stroboscopic imaging</a:t>
            </a:r>
            <a:r>
              <a:rPr lang="de-DE" sz="2000" smtClean="0">
                <a:solidFill>
                  <a:srgbClr val="005555"/>
                </a:solidFill>
                <a:latin typeface="Calibri" panose="020F0502020204030204" pitchFamily="34" charset="0"/>
              </a:rPr>
              <a:t> in the TEM world to enable measurements with </a:t>
            </a:r>
            <a:r>
              <a:rPr lang="de-DE" sz="2000" b="1" smtClean="0">
                <a:solidFill>
                  <a:srgbClr val="005555"/>
                </a:solidFill>
                <a:latin typeface="Calibri" panose="020F0502020204030204" pitchFamily="34" charset="0"/>
              </a:rPr>
              <a:t>extremely high time resolution</a:t>
            </a:r>
            <a:endParaRPr lang="de-DE" sz="2000" b="1">
              <a:solidFill>
                <a:srgbClr val="005555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244" y="1496813"/>
            <a:ext cx="4369206" cy="402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9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The man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𝐬</m:t>
                    </m:r>
                  </m:oMath>
                </a14:m>
                <a:r>
                  <a:rPr lang="de-DE"/>
                  <a:t> of the DEPFET </a:t>
                </a:r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0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/>
              <p:cNvSpPr txBox="1"/>
              <p:nvPr/>
            </p:nvSpPr>
            <p:spPr>
              <a:xfrm>
                <a:off x="801438" y="1331070"/>
                <a:ext cx="4905008" cy="50236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i="1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ifferential</a:t>
                </a: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:r>
                  <a:rPr lang="de-DE" sz="1600" i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ntegral</a:t>
                </a:r>
                <a:r>
                  <a:rPr lang="de-DE" sz="16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de-DE" sz="160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</m:acc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an be converted into each other, as</a:t>
                </a: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    </a:t>
                </a:r>
              </a:p>
              <a:p>
                <a:pPr>
                  <a:spcAft>
                    <a:spcPts val="1200"/>
                  </a:spcAft>
                </a:pPr>
                <a:r>
                  <a:rPr lang="de-DE" sz="16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   and</a:t>
                </a:r>
              </a:p>
              <a:p>
                <a:pPr>
                  <a:spcAft>
                    <a:spcPts val="1200"/>
                  </a:spcAft>
                </a:pPr>
                <a:endParaRPr lang="de-DE" sz="16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spcAft>
                    <a:spcPts val="1200"/>
                  </a:spcAft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hus, the net C2-curves can be calculated by </a:t>
                </a: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de-DE" sz="16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spcAft>
                    <a:spcPts val="1200"/>
                  </a:spcAft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     or</a:t>
                </a:r>
              </a:p>
              <a:p>
                <a:pPr>
                  <a:spcAft>
                    <a:spcPts val="1200"/>
                  </a:spcAft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spcAft>
                    <a:spcPts val="1200"/>
                  </a:spcAft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438" y="1331070"/>
                <a:ext cx="4905008" cy="5023619"/>
              </a:xfrm>
              <a:prstGeom prst="rect">
                <a:avLst/>
              </a:prstGeom>
              <a:blipFill>
                <a:blip r:embed="rId3"/>
                <a:stretch>
                  <a:fillRect l="-4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2024" y="2010185"/>
            <a:ext cx="2397688" cy="55278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4315" y="3201887"/>
            <a:ext cx="3557545" cy="428874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4316" y="4414372"/>
            <a:ext cx="4427184" cy="486793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7"/>
          <a:srcRect l="56726"/>
          <a:stretch/>
        </p:blipFill>
        <p:spPr>
          <a:xfrm>
            <a:off x="2314775" y="5619741"/>
            <a:ext cx="1214937" cy="36887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/>
          <a:srcRect r="65001"/>
          <a:stretch/>
        </p:blipFill>
        <p:spPr>
          <a:xfrm>
            <a:off x="1289726" y="5619741"/>
            <a:ext cx="982610" cy="3688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0691" y="924233"/>
            <a:ext cx="3816045" cy="526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48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The man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  <m:r>
                      <a:rPr lang="de-DE">
                        <a:latin typeface="Cambria Math" panose="02040503050406030204" pitchFamily="18" charset="0"/>
                      </a:rPr>
                      <m:t>𝐬</m:t>
                    </m:r>
                  </m:oMath>
                </a14:m>
                <a:r>
                  <a:rPr lang="de-DE"/>
                  <a:t> of the DEPFET </a:t>
                </a:r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1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/>
              <p:cNvSpPr txBox="1"/>
              <p:nvPr/>
            </p:nvSpPr>
            <p:spPr>
              <a:xfrm>
                <a:off x="766796" y="1219233"/>
                <a:ext cx="5217024" cy="51641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Because of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The ratio of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is linked to the area ratios: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Already something, but model is too simple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Shortcomings of the model:</a:t>
                </a:r>
              </a:p>
              <a:p>
                <a:pPr marL="742950" lvl="1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Gives ratios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s, not values</a:t>
                </a:r>
              </a:p>
              <a:p>
                <a:pPr marL="742950" lvl="1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Overflow charge/voltage points are not given</a:t>
                </a:r>
              </a:p>
              <a:p>
                <a:pPr marL="742950" lvl="1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Inductance effects are ignored</a:t>
                </a:r>
              </a:p>
              <a:p>
                <a:pPr marL="742950" lvl="1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solidFill>
                      <a:srgbClr val="C00000"/>
                    </a:solidFill>
                    <a:latin typeface="Calibri" panose="020F0502020204030204" pitchFamily="34" charset="0"/>
                  </a:rPr>
                  <a:t>Need to use more sophisticated and fundamental approach</a:t>
                </a:r>
              </a:p>
            </p:txBody>
          </p:sp>
        </mc:Choice>
        <mc:Fallback xmlns="">
          <p:sp>
            <p:nvSpPr>
              <p:cNvPr id="5" name="Textfeld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6796" y="1219233"/>
                <a:ext cx="5217024" cy="5164171"/>
              </a:xfrm>
              <a:prstGeom prst="rect">
                <a:avLst/>
              </a:prstGeom>
              <a:blipFill>
                <a:blip r:embed="rId3"/>
                <a:stretch>
                  <a:fillRect l="-467" t="-354" b="-59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399" y="1640132"/>
            <a:ext cx="1028149" cy="33474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1931" y="2610234"/>
            <a:ext cx="2262005" cy="115506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9284" y="1581983"/>
            <a:ext cx="4452637" cy="3851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24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 smtClean="0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4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2</a:t>
            </a:fld>
            <a:endParaRPr lang="de-DE" dirty="0"/>
          </a:p>
        </p:txBody>
      </p:sp>
      <p:pic>
        <p:nvPicPr>
          <p:cNvPr id="5" name="designCh2B_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52654" y="1500338"/>
            <a:ext cx="5448367" cy="4084719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feld 5"/>
              <p:cNvSpPr txBox="1"/>
              <p:nvPr/>
            </p:nvSpPr>
            <p:spPr>
              <a:xfrm>
                <a:off x="770159" y="1634053"/>
                <a:ext cx="4032040" cy="44267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hlink"/>
                  </a:buClr>
                  <a:defRPr/>
                </a:pPr>
                <a:r>
                  <a:rPr lang="de-DE" sz="1600" b="1" smtClean="0">
                    <a:latin typeface="Calibri" panose="020F0502020204030204" pitchFamily="34" charset="0"/>
                  </a:rPr>
                  <a:t>Approach:</a:t>
                </a:r>
              </a:p>
              <a:p>
                <a:pPr marL="171450" indent="-171450" algn="ctr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b="1" smtClean="0">
                  <a:solidFill>
                    <a:srgbClr val="C00000"/>
                  </a:solidFill>
                  <a:latin typeface="Calibri" panose="020F0502020204030204" pitchFamily="34" charset="0"/>
                </a:endParaRPr>
              </a:p>
              <a:p>
                <a:pPr marL="171450" indent="-171450" algn="ctr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Use actual space charge density in storage region (as simulated) to calculate bot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b="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de-DE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6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</m:acc>
                      </m:e>
                      <m:sub>
                        <m:r>
                          <a:rPr lang="de-DE" sz="1600" b="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endParaRPr lang="de-DE" sz="1600" smtClean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171450" indent="-171450" algn="ctr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171450" indent="-171450" algn="ctr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Modify and extrude </a:t>
                </a: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simulated) charge </a:t>
                </a: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loud to investigate different layouts</a:t>
                </a:r>
              </a:p>
              <a:p>
                <a:pPr marL="171450" indent="-171450" algn="ctr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171450" indent="-171450" algn="ctr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Later: Use (</a:t>
                </a: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echnology </a:t>
                </a:r>
                <a:r>
                  <a:rPr lang="de-DE" sz="1600" smtClean="0">
                    <a:solidFill>
                      <a:schemeClr val="tx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ependent) parametrization of charge in internal gate to model arbitrary layouts</a:t>
                </a:r>
              </a:p>
              <a:p>
                <a:pPr marL="171450" indent="-171450" algn="ctr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endParaRPr lang="de-DE" sz="1600" b="1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171450" indent="-171450" algn="ctr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endParaRPr lang="de-DE" sz="1600" b="1" smtClean="0">
                  <a:solidFill>
                    <a:srgbClr val="C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159" y="1634053"/>
                <a:ext cx="4032040" cy="4426789"/>
              </a:xfrm>
              <a:prstGeom prst="rect">
                <a:avLst/>
              </a:prstGeom>
              <a:blipFill>
                <a:blip r:embed="rId6"/>
                <a:stretch>
                  <a:fillRect t="-413" r="-136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37583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2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3</a:t>
            </a:fld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feld 4"/>
              <p:cNvSpPr txBox="1"/>
              <p:nvPr/>
            </p:nvSpPr>
            <p:spPr>
              <a:xfrm>
                <a:off x="779585" y="1355391"/>
                <a:ext cx="5217024" cy="47418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Very generic model „transfers“ internal gate charge to the external gate to calculat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de-DE" sz="1600" i="1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</m:acc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:</a:t>
                </a:r>
                <a:endParaRPr lang="de-DE" sz="1600">
                  <a:latin typeface="Calibri" panose="020F0502020204030204" pitchFamily="34" charset="0"/>
                </a:endParaRP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Conversion factor is the capacitance of external gate:</a:t>
                </a: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„Loss“ factor </a:t>
                </a:r>
                <a14:m>
                  <m:oMath xmlns:m="http://schemas.openxmlformats.org/officeDocument/2006/math">
                    <m:r>
                      <a:rPr lang="de-DE" sz="16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quantifies the fraction of the internal gate charge which is effective, i.e. „seen“, by the DEPFET channel</a:t>
                </a: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For the operation of the DEPFET in small signal mode  </a:t>
                </a:r>
                <a:r>
                  <a:rPr lang="de-DE" sz="1600" smtClean="0">
                    <a:latin typeface="Calibri" panose="020F0502020204030204" pitchFamily="34" charset="0"/>
                  </a:rPr>
                  <a:t>(i.e. consta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), </a:t>
                </a:r>
                <a:r>
                  <a:rPr lang="de-DE" sz="1600" smtClean="0">
                    <a:latin typeface="Calibri" panose="020F0502020204030204" pitchFamily="34" charset="0"/>
                  </a:rPr>
                  <a:t>a constant </a:t>
                </a:r>
                <a14:m>
                  <m:oMath xmlns:m="http://schemas.openxmlformats.org/officeDocument/2006/math">
                    <m:r>
                      <a:rPr lang="de-DE" sz="1600" i="1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factor is assumed</a:t>
                </a: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For large charge quantities or devices with overflow regions, the factor </a:t>
                </a:r>
                <a14:m>
                  <m:oMath xmlns:m="http://schemas.openxmlformats.org/officeDocument/2006/math">
                    <m:r>
                      <a:rPr lang="de-DE" sz="1600" i="1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has to be made a function of the charge:</a:t>
                </a:r>
                <a:endParaRPr lang="de-DE" sz="1600">
                  <a:latin typeface="Calibri" panose="020F0502020204030204" pitchFamily="34" charset="0"/>
                </a:endParaRPr>
              </a:p>
              <a:p>
                <a:pPr marL="171450" indent="-1714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>
                  <a:latin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5" name="Textfeld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585" y="1355391"/>
                <a:ext cx="5217024" cy="4741811"/>
              </a:xfrm>
              <a:prstGeom prst="rect">
                <a:avLst/>
              </a:prstGeom>
              <a:blipFill>
                <a:blip r:embed="rId3"/>
                <a:stretch>
                  <a:fillRect l="-467" t="-38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4"/>
          <a:srcRect l="19860" t="16312" b="65913"/>
          <a:stretch/>
        </p:blipFill>
        <p:spPr>
          <a:xfrm>
            <a:off x="1479277" y="2002040"/>
            <a:ext cx="3853004" cy="40083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t="48829" r="50865" b="34785"/>
          <a:stretch/>
        </p:blipFill>
        <p:spPr>
          <a:xfrm>
            <a:off x="1001866" y="2974025"/>
            <a:ext cx="2362311" cy="36951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t="81872"/>
          <a:stretch/>
        </p:blipFill>
        <p:spPr>
          <a:xfrm>
            <a:off x="1001866" y="5769608"/>
            <a:ext cx="4807826" cy="40878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hteck 8"/>
              <p:cNvSpPr/>
              <p:nvPr/>
            </p:nvSpPr>
            <p:spPr>
              <a:xfrm>
                <a:off x="6566454" y="1355391"/>
                <a:ext cx="4505738" cy="123110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hlink"/>
                  </a:buClr>
                  <a:defRPr/>
                </a:pPr>
                <a:r>
                  <a:rPr lang="de-DE" sz="1600" smtClean="0">
                    <a:solidFill>
                      <a:srgbClr val="C00000"/>
                    </a:solidFill>
                    <a:latin typeface="Calibri" panose="020F0502020204030204" pitchFamily="34" charset="0"/>
                  </a:rPr>
                  <a:t>The factor </a:t>
                </a:r>
                <a14:m>
                  <m:oMath xmlns:m="http://schemas.openxmlformats.org/officeDocument/2006/math">
                    <m:r>
                      <a:rPr lang="de-DE" sz="160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de-DE" sz="1600" smtClean="0">
                    <a:solidFill>
                      <a:srgbClr val="C00000"/>
                    </a:solidFill>
                    <a:latin typeface="Calibri" panose="020F0502020204030204" pitchFamily="34" charset="0"/>
                  </a:rPr>
                  <a:t> evolves from simple „loss factor“ to charge depending „influence effectivity factor“ (IEF)</a:t>
                </a:r>
              </a:p>
              <a:p>
                <a:pPr algn="ctr">
                  <a:spcAft>
                    <a:spcPts val="600"/>
                  </a:spcAft>
                  <a:buClr>
                    <a:schemeClr val="hlink"/>
                  </a:buClr>
                  <a:defRPr/>
                </a:pPr>
                <a:endParaRPr lang="de-DE" sz="1600">
                  <a:solidFill>
                    <a:srgbClr val="C00000"/>
                  </a:solidFill>
                  <a:latin typeface="Calibri" panose="020F0502020204030204" pitchFamily="34" charset="0"/>
                </a:endParaRPr>
              </a:p>
              <a:p>
                <a:pPr algn="ctr">
                  <a:spcAft>
                    <a:spcPts val="600"/>
                  </a:spcAft>
                  <a:buClr>
                    <a:schemeClr val="hlink"/>
                  </a:buClr>
                  <a:defRPr/>
                </a:pPr>
                <a:r>
                  <a:rPr lang="de-DE" sz="1600" smtClean="0">
                    <a:solidFill>
                      <a:srgbClr val="C00000"/>
                    </a:solidFill>
                    <a:latin typeface="Calibri" panose="020F0502020204030204" pitchFamily="34" charset="0"/>
                  </a:rPr>
                  <a:t>How to calculate the IEF?</a:t>
                </a:r>
                <a:endParaRPr lang="de-DE" sz="1600" dirty="0">
                  <a:solidFill>
                    <a:srgbClr val="C00000"/>
                  </a:solidFill>
                  <a:latin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9" name="Rechteck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6454" y="1355391"/>
                <a:ext cx="4505738" cy="1231106"/>
              </a:xfrm>
              <a:prstGeom prst="rect">
                <a:avLst/>
              </a:prstGeom>
              <a:blipFill>
                <a:blip r:embed="rId5"/>
                <a:stretch>
                  <a:fillRect t="-1485" b="-544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77"/>
          <a:stretch/>
        </p:blipFill>
        <p:spPr>
          <a:xfrm>
            <a:off x="6811286" y="2861297"/>
            <a:ext cx="4016073" cy="296186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4"/>
          <a:srcRect t="16312" r="90226" b="65913"/>
          <a:stretch/>
        </p:blipFill>
        <p:spPr>
          <a:xfrm>
            <a:off x="1001866" y="2002040"/>
            <a:ext cx="469913" cy="400832"/>
          </a:xfrm>
          <a:prstGeom prst="rect">
            <a:avLst/>
          </a:prstGeom>
        </p:spPr>
      </p:pic>
      <p:cxnSp>
        <p:nvCxnSpPr>
          <p:cNvPr id="12" name="Gerader Verbinder 11"/>
          <p:cNvCxnSpPr/>
          <p:nvPr/>
        </p:nvCxnSpPr>
        <p:spPr>
          <a:xfrm>
            <a:off x="1099838" y="2097086"/>
            <a:ext cx="136984" cy="0"/>
          </a:xfrm>
          <a:prstGeom prst="line">
            <a:avLst/>
          </a:prstGeom>
          <a:ln w="317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1090532" y="5907086"/>
            <a:ext cx="136984" cy="0"/>
          </a:xfrm>
          <a:prstGeom prst="line">
            <a:avLst/>
          </a:prstGeom>
          <a:ln w="317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27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4</a:t>
            </a:fld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742" y="4033487"/>
            <a:ext cx="4819503" cy="447026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693426" y="1393961"/>
            <a:ext cx="4871374" cy="4601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Calculate charge density at location of </a:t>
            </a:r>
            <a:r>
              <a:rPr lang="de-DE" sz="1600" smtClean="0">
                <a:latin typeface="Calibri" panose="020F0502020204030204" pitchFamily="34" charset="0"/>
              </a:rPr>
              <a:t>DEPFET channel as </a:t>
            </a:r>
            <a:r>
              <a:rPr lang="de-DE" sz="1600">
                <a:latin typeface="Calibri" panose="020F0502020204030204" pitchFamily="34" charset="0"/>
              </a:rPr>
              <a:t>induced by charge in every voxel in the respective regions of the storage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Quotient of simulated charge vs. induced charge is inductance efficiency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y </a:t>
            </a:r>
            <a:r>
              <a:rPr lang="de-DE" sz="1600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ckley-Ramo Theorem</a:t>
            </a: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charge cloud in storage region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p 1: Calculate the induced charge in the channel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sz="160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sz="160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p 2: Calculate the IEF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de-DE" sz="160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742" y="5261149"/>
            <a:ext cx="3864875" cy="475677"/>
          </a:xfrm>
          <a:prstGeom prst="rect">
            <a:avLst/>
          </a:prstGeom>
        </p:spPr>
      </p:pic>
      <p:sp>
        <p:nvSpPr>
          <p:cNvPr id="21" name="Textfeld 20"/>
          <p:cNvSpPr txBox="1"/>
          <p:nvPr/>
        </p:nvSpPr>
        <p:spPr>
          <a:xfrm>
            <a:off x="4575130" y="4747450"/>
            <a:ext cx="1305337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200" b="1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ighting potential of channel region</a:t>
            </a:r>
            <a:endParaRPr lang="de-DE" sz="1200" b="1" dirty="0" err="1" smtClean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3" name="Gerader Verbinder 22"/>
          <p:cNvCxnSpPr/>
          <p:nvPr/>
        </p:nvCxnSpPr>
        <p:spPr>
          <a:xfrm>
            <a:off x="2811179" y="4414323"/>
            <a:ext cx="660890" cy="19878"/>
          </a:xfrm>
          <a:prstGeom prst="line">
            <a:avLst/>
          </a:prstGeom>
          <a:ln w="285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>
            <a:off x="3154876" y="4480513"/>
            <a:ext cx="1324359" cy="415021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5"/>
          <a:srcRect t="8451" b="2917"/>
          <a:stretch/>
        </p:blipFill>
        <p:spPr>
          <a:xfrm>
            <a:off x="7525595" y="4556118"/>
            <a:ext cx="3107143" cy="1885738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14071" y="752118"/>
            <a:ext cx="4330192" cy="3605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477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5</a:t>
            </a:fld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694130" y="1466818"/>
            <a:ext cx="4274649" cy="43704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The weighting potential usually calculated numerically 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Here, simplified (e.g. neglect influence of backside, surface „flat“ etc.)  analytical solution is used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Corresponds to simple „mirror charge over conductive plate“ problem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Weighting potential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smtClean="0"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This yields a closed algebraic epression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Error estimation yields error in the 1% range for the thinnest detector values</a:t>
            </a:r>
            <a:endParaRPr lang="de-DE" sz="1600">
              <a:latin typeface="Calibri" panose="020F050202020403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64" y="4034350"/>
            <a:ext cx="4505178" cy="72198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t="-278" r="44944" b="1"/>
          <a:stretch/>
        </p:blipFill>
        <p:spPr>
          <a:xfrm>
            <a:off x="6096001" y="4968188"/>
            <a:ext cx="5046958" cy="75217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76557" y="915187"/>
            <a:ext cx="4848545" cy="391786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4"/>
          <a:srcRect l="54898" t="-1736" r="749"/>
          <a:stretch/>
        </p:blipFill>
        <p:spPr>
          <a:xfrm>
            <a:off x="6767352" y="5622802"/>
            <a:ext cx="3704256" cy="695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13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3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6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5677517" y="1060554"/>
            <a:ext cx="5760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600">
                <a:solidFill>
                  <a:srgbClr val="C00000"/>
                </a:solidFill>
                <a:latin typeface="Calibri" panose="020F0502020204030204" pitchFamily="34" charset="0"/>
              </a:rPr>
              <a:t>Very nice match with few parameters!</a:t>
            </a:r>
            <a:endParaRPr lang="de-DE" sz="1600" dirty="0" err="1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3765" y="1399108"/>
            <a:ext cx="4043522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are model calulation with numerical simulations</a:t>
            </a:r>
          </a:p>
          <a:p>
            <a:pPr marL="179388" indent="-179388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ce agreement </a:t>
            </a:r>
          </a:p>
          <a:p>
            <a:pPr marL="179388" indent="-179388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w average parameters (mobility etc...)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ometry parameter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te-Source voltage..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a large degree, the </a:t>
            </a:r>
            <a:r>
              <a:rPr lang="de-DE" sz="1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</a:t>
            </a:r>
            <a:r>
              <a:rPr lang="de-DE" sz="1600" baseline="-25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</a:t>
            </a: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pendence seems to be an „electrostatic“ phenomenon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828287" y="4391466"/>
            <a:ext cx="4360218" cy="1806576"/>
            <a:chOff x="854789" y="4364963"/>
            <a:chExt cx="4360218" cy="1806576"/>
          </a:xfrm>
        </p:grpSpPr>
        <p:graphicFrame>
          <p:nvGraphicFramePr>
            <p:cNvPr id="8" name="Objekt 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04011062"/>
                </p:ext>
              </p:extLst>
            </p:nvPr>
          </p:nvGraphicFramePr>
          <p:xfrm>
            <a:off x="3094107" y="4364964"/>
            <a:ext cx="2120900" cy="18065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5188" name="CorelDRAW" r:id="rId4" imgW="2120419" imgH="1806928" progId="CorelDraw.Graphic.22">
                    <p:embed/>
                  </p:oleObj>
                </mc:Choice>
                <mc:Fallback>
                  <p:oleObj name="CorelDRAW" r:id="rId4" imgW="2120419" imgH="1806928" progId="CorelDraw.Graphic.22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3094107" y="4364964"/>
                          <a:ext cx="2120900" cy="180657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9" name="Objekt 8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51807890"/>
                </p:ext>
              </p:extLst>
            </p:nvPr>
          </p:nvGraphicFramePr>
          <p:xfrm>
            <a:off x="854789" y="4364963"/>
            <a:ext cx="2157413" cy="18065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5189" name="CorelDRAW" r:id="rId6" imgW="2157490" imgH="1806928" progId="CorelDraw.Graphic.22">
                    <p:embed/>
                  </p:oleObj>
                </mc:Choice>
                <mc:Fallback>
                  <p:oleObj name="CorelDRAW" r:id="rId6" imgW="2157490" imgH="1806928" progId="CorelDraw.Graphic.22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854789" y="4364963"/>
                          <a:ext cx="2157413" cy="180657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18" name="Grafik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517" y="1569759"/>
            <a:ext cx="5325418" cy="4395428"/>
          </a:xfrm>
          <a:prstGeom prst="rect">
            <a:avLst/>
          </a:prstGeom>
        </p:spPr>
      </p:pic>
      <p:cxnSp>
        <p:nvCxnSpPr>
          <p:cNvPr id="11" name="Gerader Verbinder 10"/>
          <p:cNvCxnSpPr/>
          <p:nvPr/>
        </p:nvCxnSpPr>
        <p:spPr>
          <a:xfrm>
            <a:off x="8318989" y="1962802"/>
            <a:ext cx="89205" cy="0"/>
          </a:xfrm>
          <a:prstGeom prst="line">
            <a:avLst/>
          </a:prstGeom>
          <a:ln w="317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 flipV="1">
            <a:off x="5761360" y="4096368"/>
            <a:ext cx="0" cy="134284"/>
          </a:xfrm>
          <a:prstGeom prst="line">
            <a:avLst/>
          </a:prstGeom>
          <a:ln w="317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451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7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181" y="3293776"/>
            <a:ext cx="3106601" cy="271901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401" y="753558"/>
            <a:ext cx="2677951" cy="238395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4" t="1362" r="3203" b="2939"/>
          <a:stretch/>
        </p:blipFill>
        <p:spPr>
          <a:xfrm>
            <a:off x="8226198" y="517080"/>
            <a:ext cx="2726568" cy="25246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" t="1408" r="3568" b="847"/>
          <a:stretch/>
        </p:blipFill>
        <p:spPr>
          <a:xfrm>
            <a:off x="5091764" y="3337316"/>
            <a:ext cx="2680343" cy="2583553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934701" y="754527"/>
            <a:ext cx="3674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smtClean="0"/>
              <a:t>1:</a:t>
            </a:r>
            <a:endParaRPr lang="de-DE" sz="1600" b="1"/>
          </a:p>
        </p:txBody>
      </p:sp>
      <p:sp>
        <p:nvSpPr>
          <p:cNvPr id="10" name="Textfeld 9"/>
          <p:cNvSpPr txBox="1"/>
          <p:nvPr/>
        </p:nvSpPr>
        <p:spPr>
          <a:xfrm>
            <a:off x="4908060" y="753558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smtClean="0"/>
              <a:t>0B:</a:t>
            </a:r>
            <a:endParaRPr lang="de-DE" sz="1600" b="1"/>
          </a:p>
        </p:txBody>
      </p:sp>
      <p:sp>
        <p:nvSpPr>
          <p:cNvPr id="11" name="Textfeld 10"/>
          <p:cNvSpPr txBox="1"/>
          <p:nvPr/>
        </p:nvSpPr>
        <p:spPr>
          <a:xfrm>
            <a:off x="5040401" y="3491737"/>
            <a:ext cx="3674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smtClean="0"/>
              <a:t>2:</a:t>
            </a:r>
            <a:endParaRPr lang="de-DE" sz="1600" b="1"/>
          </a:p>
        </p:txBody>
      </p:sp>
      <p:sp>
        <p:nvSpPr>
          <p:cNvPr id="12" name="Textfeld 11"/>
          <p:cNvSpPr txBox="1"/>
          <p:nvPr/>
        </p:nvSpPr>
        <p:spPr>
          <a:xfrm>
            <a:off x="7934701" y="3486243"/>
            <a:ext cx="3674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smtClean="0"/>
              <a:t>3:</a:t>
            </a:r>
            <a:endParaRPr lang="de-DE" sz="1600" b="1"/>
          </a:p>
        </p:txBody>
      </p:sp>
      <p:sp>
        <p:nvSpPr>
          <p:cNvPr id="16" name="Textfeld 15"/>
          <p:cNvSpPr txBox="1"/>
          <p:nvPr/>
        </p:nvSpPr>
        <p:spPr>
          <a:xfrm>
            <a:off x="804238" y="1329740"/>
            <a:ext cx="410382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ferent designs based on extruded simulation results</a:t>
            </a: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tance of overflow 2 to internal gate becomes smaller</a:t>
            </a: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flow 1 brim introduced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a ratios between overflow 1 and  overflow 2 regions are very similar</a:t>
            </a: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ternal gate position and charge distribution in internal gate are not modified</a:t>
            </a: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esting parameters: 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ice capacitance values for the various regions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flow thresholds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</a:t>
            </a:r>
            <a:r>
              <a:rPr lang="de-DE" sz="1600" baseline="-250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</a:t>
            </a: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a function of charge</a:t>
            </a:r>
          </a:p>
        </p:txBody>
      </p:sp>
    </p:spTree>
    <p:extLst>
      <p:ext uri="{BB962C8B-B14F-4D97-AF65-F5344CB8AC3E}">
        <p14:creationId xmlns:p14="http://schemas.microsoft.com/office/powerpoint/2010/main" val="195208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8</a:t>
            </a:fld>
            <a:endParaRPr lang="de-DE" dirty="0"/>
          </a:p>
        </p:txBody>
      </p:sp>
      <p:pic>
        <p:nvPicPr>
          <p:cNvPr id="5" name="Grafik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5157" y="2151599"/>
            <a:ext cx="2911290" cy="3538602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73034" y="1538109"/>
            <a:ext cx="3649809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DET pixel design:</a:t>
            </a:r>
            <a:endParaRPr lang="de-DE" sz="1600" b="1" baseline="-250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tuation similar to case 3 in terms of Gate - OV1 gap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ch wider brim (9 -10 µm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a ratio changed wrt. reference design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bably mismatch in gate width</a:t>
            </a:r>
          </a:p>
          <a:p>
            <a:pPr>
              <a:spcAft>
                <a:spcPts val="1200"/>
              </a:spcAft>
            </a:pPr>
            <a:endParaRPr lang="de-DE" sz="160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4699579" y="2048956"/>
            <a:ext cx="3641969" cy="3302647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222390" y="1540741"/>
            <a:ext cx="7938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:</a:t>
            </a:r>
            <a:endParaRPr lang="de-DE" sz="16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9804171" y="1516360"/>
            <a:ext cx="8130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ign:</a:t>
            </a:r>
            <a:endParaRPr lang="de-DE" sz="16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971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3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9</a:t>
            </a:fld>
            <a:endParaRPr lang="de-DE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09528934"/>
              </p:ext>
            </p:extLst>
          </p:nvPr>
        </p:nvGraphicFramePr>
        <p:xfrm>
          <a:off x="550141" y="1365645"/>
          <a:ext cx="5649590" cy="432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8" name="Graph" r:id="rId4" imgW="3845070" imgH="2940756" progId="Origin95.Graph">
                  <p:embed/>
                </p:oleObj>
              </mc:Choice>
              <mc:Fallback>
                <p:oleObj name="Graph" r:id="rId4" imgW="3845070" imgH="2940756" progId="Origin95.Graph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50141" y="1365645"/>
                        <a:ext cx="5649590" cy="432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1527529"/>
              </p:ext>
            </p:extLst>
          </p:nvPr>
        </p:nvGraphicFramePr>
        <p:xfrm>
          <a:off x="5802132" y="1394617"/>
          <a:ext cx="5649590" cy="432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9" name="Graph" r:id="rId6" imgW="3845070" imgH="2940756" progId="Origin95.Graph">
                  <p:embed/>
                </p:oleObj>
              </mc:Choice>
              <mc:Fallback>
                <p:oleObj name="Graph" r:id="rId6" imgW="3845070" imgH="2940756" progId="Origin95.Graph">
                  <p:embed/>
                  <p:pic>
                    <p:nvPicPr>
                      <p:cNvPr id="6" name="Objekt 5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802132" y="1394617"/>
                        <a:ext cx="5649590" cy="432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/>
        </p:nvSpPr>
        <p:spPr>
          <a:xfrm>
            <a:off x="3924033" y="5794411"/>
            <a:ext cx="48554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b="1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xt step:</a:t>
            </a:r>
            <a:r>
              <a:rPr lang="de-DE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alculate Charge-current </a:t>
            </a:r>
            <a:r>
              <a:rPr lang="de-DE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C2)-</a:t>
            </a:r>
            <a:r>
              <a:rPr lang="de-DE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urve</a:t>
            </a:r>
            <a:endParaRPr lang="de-DE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Gerader Verbinder 6"/>
          <p:cNvCxnSpPr/>
          <p:nvPr/>
        </p:nvCxnSpPr>
        <p:spPr>
          <a:xfrm flipV="1">
            <a:off x="6151418" y="3600050"/>
            <a:ext cx="0" cy="89243"/>
          </a:xfrm>
          <a:prstGeom prst="line">
            <a:avLst/>
          </a:prstGeom>
          <a:ln w="3175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53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tents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47738" y="1798131"/>
            <a:ext cx="526527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indent="-2730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Nonlinear amplification – why?</a:t>
            </a:r>
            <a:endParaRPr lang="de-DE" alt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Accuracy func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The DEPFET and NLA </a:t>
            </a:r>
            <a:endParaRPr lang="de-DE" alt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The many g</a:t>
            </a:r>
            <a:r>
              <a:rPr lang="de-DE" altLang="de-DE" sz="2000" baseline="-25000" smtClean="0">
                <a:latin typeface="Calibri" panose="020F0502020204030204" pitchFamily="34" charset="0"/>
                <a:cs typeface="Calibri" panose="020F0502020204030204" pitchFamily="34" charset="0"/>
              </a:rPr>
              <a:t>q</a:t>
            </a: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-s of the DEPF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>
                <a:latin typeface="Calibri" panose="020F0502020204030204" pitchFamily="34" charset="0"/>
                <a:cs typeface="Calibri" panose="020F0502020204030204" pitchFamily="34" charset="0"/>
              </a:rPr>
              <a:t>Calculating DEPFET g</a:t>
            </a:r>
            <a:r>
              <a:rPr lang="de-DE" altLang="de-DE" sz="2000" baseline="-25000">
                <a:latin typeface="Calibri" panose="020F0502020204030204" pitchFamily="34" charset="0"/>
                <a:cs typeface="Calibri" panose="020F0502020204030204" pitchFamily="34" charset="0"/>
              </a:rPr>
              <a:t>q</a:t>
            </a:r>
            <a:endParaRPr lang="de-DE" altLang="de-DE" sz="200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Summary </a:t>
            </a:r>
            <a:r>
              <a:rPr lang="de-DE" altLang="de-DE" sz="2000">
                <a:latin typeface="Calibri" panose="020F0502020204030204" pitchFamily="34" charset="0"/>
                <a:cs typeface="Calibri" panose="020F0502020204030204" pitchFamily="34" charset="0"/>
              </a:rPr>
              <a:t>&amp; </a:t>
            </a: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Outlook</a:t>
            </a:r>
            <a:endParaRPr lang="de-DE" alt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3" descr="c61364bd-f578-4d04-8993-0e984356c9ff@um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97015" y="1550596"/>
            <a:ext cx="3063240" cy="3383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087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</a:t>
                </a:r>
                <a:r>
                  <a:rPr lang="de-DE" smtClean="0"/>
                  <a:t>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0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071" y="1394617"/>
            <a:ext cx="5534972" cy="430879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hteck 6"/>
              <p:cNvSpPr/>
              <p:nvPr/>
            </p:nvSpPr>
            <p:spPr>
              <a:xfrm>
                <a:off x="930482" y="1477269"/>
                <a:ext cx="4778809" cy="3761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̅"/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</m:acc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can be used to calculate the C2-curves</a:t>
                </a:r>
                <a:r>
                  <a:rPr lang="de-DE" sz="160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:</a:t>
                </a: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 </a:t>
                </a:r>
                <a:endParaRPr lang="de-DE" sz="16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7" name="Rechteck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0482" y="1477269"/>
                <a:ext cx="4778809" cy="376193"/>
              </a:xfrm>
              <a:prstGeom prst="rect">
                <a:avLst/>
              </a:prstGeom>
              <a:blipFill>
                <a:blip r:embed="rId4"/>
                <a:stretch>
                  <a:fillRect l="-765" b="-1612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739" y="1866228"/>
            <a:ext cx="2654870" cy="46171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/>
              <p:cNvSpPr txBox="1"/>
              <p:nvPr/>
            </p:nvSpPr>
            <p:spPr>
              <a:xfrm>
                <a:off x="598909" y="2424545"/>
                <a:ext cx="4746759" cy="2297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harge-current (C2)-curve is experimentally relevant DEPFET characteristics</a:t>
                </a: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ives overall current in the pixel as a function of the total signal charge in the pixe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𝐷𝑆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𝑠𝑖𝑔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f the detector is properly calibrated, the C2 curve can be used to determine the verall signal charge.</a:t>
                </a: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„Total“ C2-curve and net C2-curve (w/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𝐼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10" name="Textfeld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909" y="2424545"/>
                <a:ext cx="4746759" cy="2297552"/>
              </a:xfrm>
              <a:prstGeom prst="rect">
                <a:avLst/>
              </a:prstGeom>
              <a:blipFill>
                <a:blip r:embed="rId6"/>
                <a:stretch>
                  <a:fillRect l="-513" t="-796" b="-26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4677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</a:t>
                </a:r>
                <a:r>
                  <a:rPr lang="de-DE" smtClean="0"/>
                  <a:t>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1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96" y="1537591"/>
            <a:ext cx="5803711" cy="456342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1996627" y="1401467"/>
            <a:ext cx="3784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t C2-curve of OSCAR simulation</a:t>
            </a:r>
            <a:endParaRPr lang="de-DE" sz="1600" baseline="-250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090" y="1645947"/>
            <a:ext cx="5831380" cy="456342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149312" y="1401467"/>
            <a:ext cx="42280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t C2-curve calculated for EDET-like design</a:t>
            </a:r>
          </a:p>
        </p:txBody>
      </p:sp>
    </p:spTree>
    <p:extLst>
      <p:ext uri="{BB962C8B-B14F-4D97-AF65-F5344CB8AC3E}">
        <p14:creationId xmlns:p14="http://schemas.microsoft.com/office/powerpoint/2010/main" val="240039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tel 2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de-DE"/>
                  <a:t>Calculting </a:t>
                </a:r>
                <a:r>
                  <a:rPr lang="de-DE" smtClean="0"/>
                  <a:t>DEPF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endParaRPr lang="de-DE"/>
              </a:p>
            </p:txBody>
          </p:sp>
        </mc:Choice>
        <mc:Fallback xmlns="">
          <p:sp>
            <p:nvSpPr>
              <p:cNvPr id="3" name="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1716" t="-956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2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 4"/>
              <p:cNvSpPr/>
              <p:nvPr/>
            </p:nvSpPr>
            <p:spPr>
              <a:xfrm>
                <a:off x="982498" y="1394617"/>
                <a:ext cx="4004458" cy="18535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Because of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60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is linked to the capacitance!  </a:t>
                </a:r>
                <a:endParaRPr lang="de-DE" sz="16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5" name="Rechteck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2498" y="1394617"/>
                <a:ext cx="4004458" cy="1853521"/>
              </a:xfrm>
              <a:prstGeom prst="rect">
                <a:avLst/>
              </a:prstGeom>
              <a:blipFill>
                <a:blip r:embed="rId3"/>
                <a:stretch>
                  <a:fillRect l="-609" t="-987" r="-152" b="-263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768" y="1248098"/>
            <a:ext cx="5655023" cy="451190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/>
              <p:cNvSpPr txBox="1"/>
              <p:nvPr/>
            </p:nvSpPr>
            <p:spPr>
              <a:xfrm>
                <a:off x="947739" y="3248138"/>
                <a:ext cx="4193082" cy="16688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xample: Design 0B</a:t>
                </a: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Steps reflect the activation of the various overflow regions</a:t>
                </a:r>
              </a:p>
              <a:p>
                <a:pPr marL="285750" indent="-285750">
                  <a:spcAft>
                    <a:spcPts val="1200"/>
                  </a:spcAft>
                  <a:buFont typeface="Arial" panose="020B0604020202020204" pitchFamily="34" charset="0"/>
                  <a:buChar char="•"/>
                </a:pPr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Kinks are (as expected) much more pronounced as in the integral </a:t>
                </a: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𝑄</m:t>
                            </m:r>
                          </m:sub>
                        </m:sSub>
                      </m:e>
                    </m:acc>
                    <m:d>
                      <m:d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𝑞</m:t>
                            </m:r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𝑠𝑖𝑔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plot</a:t>
                </a:r>
              </a:p>
            </p:txBody>
          </p:sp>
        </mc:Choice>
        <mc:Fallback xmlns="">
          <p:sp>
            <p:nvSpPr>
              <p:cNvPr id="7" name="Textfeld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7739" y="3248138"/>
                <a:ext cx="4193082" cy="1668855"/>
              </a:xfrm>
              <a:prstGeom prst="rect">
                <a:avLst/>
              </a:prstGeom>
              <a:blipFill>
                <a:blip r:embed="rId5"/>
                <a:stretch>
                  <a:fillRect l="-581" t="-1095" b="-292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Grafik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1248" y="1681727"/>
            <a:ext cx="2262005" cy="1155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86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struction of Gain function for DEPFET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3</a:t>
            </a:fld>
            <a:endParaRPr lang="de-DE" dirty="0"/>
          </a:p>
        </p:txBody>
      </p:sp>
      <p:pic>
        <p:nvPicPr>
          <p:cNvPr id="5" name="Picture 4" descr="DC9604E0-EEBF-4138-9B2B-41CE57573164-L0-00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654"/>
          <a:stretch/>
        </p:blipFill>
        <p:spPr bwMode="auto">
          <a:xfrm>
            <a:off x="8256286" y="1381192"/>
            <a:ext cx="2181365" cy="261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/>
              <p:cNvSpPr txBox="1"/>
              <p:nvPr/>
            </p:nvSpPr>
            <p:spPr>
              <a:xfrm>
                <a:off x="992500" y="1247546"/>
                <a:ext cx="5414695" cy="49131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  <a:buClr>
                    <a:schemeClr val="hlink"/>
                  </a:buClr>
                  <a:defRPr/>
                </a:pPr>
                <a:r>
                  <a:rPr lang="de-DE" sz="1600" b="1" smtClean="0">
                    <a:latin typeface="Calibri" panose="020F0502020204030204" pitchFamily="34" charset="0"/>
                  </a:rPr>
                  <a:t>1st step:</a:t>
                </a:r>
                <a:r>
                  <a:rPr lang="de-DE" sz="1600" smtClean="0">
                    <a:latin typeface="Calibri" panose="020F0502020204030204" pitchFamily="34" charset="0"/>
                  </a:rPr>
                  <a:t> Define parameters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Input parameter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𝑀𝑎𝑥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𝑀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, type of </a:t>
                </a:r>
                <a14:m>
                  <m:oMath xmlns:m="http://schemas.openxmlformats.org/officeDocument/2006/math">
                    <m:r>
                      <a:rPr lang="de-DE" sz="1600" i="1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Choose gain function (may be linear interpolation)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Define „gain“ coefficient(s)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Determine requir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𝐷𝑁𝑅</m:t>
                        </m:r>
                      </m:sub>
                    </m:sSub>
                  </m:oMath>
                </a14:m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Fix kink points according to preference / requirement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>
                  <a:spcAft>
                    <a:spcPts val="600"/>
                  </a:spcAft>
                  <a:buClr>
                    <a:schemeClr val="hlink"/>
                  </a:buClr>
                  <a:defRPr/>
                </a:pPr>
                <a:r>
                  <a:rPr lang="de-DE" sz="1600" b="1" smtClean="0">
                    <a:latin typeface="Calibri" panose="020F0502020204030204" pitchFamily="34" charset="0"/>
                  </a:rPr>
                  <a:t>2nd step:</a:t>
                </a:r>
                <a:r>
                  <a:rPr lang="de-DE" sz="1600" smtClean="0">
                    <a:latin typeface="Calibri" panose="020F0502020204030204" pitchFamily="34" charset="0"/>
                  </a:rPr>
                  <a:t> Convert gain function to layout</a:t>
                </a:r>
                <a:endParaRPr lang="de-DE" sz="160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Input: Charge density function (simulated or parameterized) alongside activation threshold voltages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Calculate internal gate size according to required primar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.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Set dimensions (if possible) such that threshold voltage meets requested first kink point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Set area of overflow 1 such, that secondar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𝑄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requirement is met.</a:t>
                </a:r>
              </a:p>
            </p:txBody>
          </p:sp>
        </mc:Choice>
        <mc:Fallback xmlns="">
          <p:sp>
            <p:nvSpPr>
              <p:cNvPr id="7" name="Textfeld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500" y="1247546"/>
                <a:ext cx="5414695" cy="4913140"/>
              </a:xfrm>
              <a:prstGeom prst="rect">
                <a:avLst/>
              </a:prstGeom>
              <a:blipFill>
                <a:blip r:embed="rId4"/>
                <a:stretch>
                  <a:fillRect l="-676" t="-372" r="-1351" b="-62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hteck 7"/>
              <p:cNvSpPr/>
              <p:nvPr/>
            </p:nvSpPr>
            <p:spPr>
              <a:xfrm>
                <a:off x="6833488" y="4398722"/>
                <a:ext cx="4896750" cy="19082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mtClean="0">
                    <a:latin typeface="Calibri" panose="020F0502020204030204" pitchFamily="34" charset="0"/>
                  </a:rPr>
                  <a:t>Check if kink point requirement is met (variation here is difficult, if no modification fo technology possible)</a:t>
                </a:r>
                <a:endParaRPr lang="de-DE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mtClean="0">
                    <a:latin typeface="Calibri" panose="020F0502020204030204" pitchFamily="34" charset="0"/>
                  </a:rPr>
                  <a:t>Set area of overflow 2 such that tertiary gq requirement is met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mtClean="0">
                    <a:latin typeface="Calibri" panose="020F0502020204030204" pitchFamily="34" charset="0"/>
                  </a:rPr>
                  <a:t>Check,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𝑀𝑎𝑥</m:t>
                        </m:r>
                      </m:sub>
                    </m:sSub>
                  </m:oMath>
                </a14:m>
                <a:r>
                  <a:rPr lang="de-DE" smtClean="0">
                    <a:latin typeface="Calibri" panose="020F0502020204030204" pitchFamily="34" charset="0"/>
                  </a:rPr>
                  <a:t> requirement is met</a:t>
                </a:r>
                <a:endParaRPr lang="de-DE">
                  <a:latin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Rechteck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3488" y="4398722"/>
                <a:ext cx="4896750" cy="1908215"/>
              </a:xfrm>
              <a:prstGeom prst="rect">
                <a:avLst/>
              </a:prstGeom>
              <a:blipFill>
                <a:blip r:embed="rId5"/>
                <a:stretch>
                  <a:fillRect l="-872" t="-1917" b="-415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feld 8"/>
          <p:cNvSpPr txBox="1"/>
          <p:nvPr/>
        </p:nvSpPr>
        <p:spPr>
          <a:xfrm>
            <a:off x="5954498" y="2112589"/>
            <a:ext cx="1712007" cy="55399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de-DE" sz="1200" b="1" smtClean="0">
                <a:solidFill>
                  <a:srgbClr val="C00000"/>
                </a:solidFill>
              </a:rPr>
              <a:t>Caveats:</a:t>
            </a:r>
          </a:p>
          <a:p>
            <a:pPr algn="ctr"/>
            <a:r>
              <a:rPr lang="de-DE" sz="1200" smtClean="0">
                <a:solidFill>
                  <a:srgbClr val="C00000"/>
                </a:solidFill>
              </a:rPr>
              <a:t>Many interdependencies,</a:t>
            </a:r>
          </a:p>
          <a:p>
            <a:pPr algn="ctr"/>
            <a:r>
              <a:rPr lang="de-DE" sz="1200" smtClean="0">
                <a:solidFill>
                  <a:srgbClr val="C00000"/>
                </a:solidFill>
              </a:rPr>
              <a:t>Limited design options</a:t>
            </a:r>
            <a:endParaRPr lang="de-DE" sz="1200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34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ummary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4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/>
              <p:cNvSpPr txBox="1"/>
              <p:nvPr/>
            </p:nvSpPr>
            <p:spPr>
              <a:xfrm>
                <a:off x="992500" y="1247546"/>
                <a:ext cx="5414695" cy="491108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b="1" smtClean="0">
                    <a:latin typeface="Calibri" panose="020F0502020204030204" pitchFamily="34" charset="0"/>
                  </a:rPr>
                  <a:t>Accuracy functions </a:t>
                </a:r>
                <a:r>
                  <a:rPr lang="de-DE" sz="1600" smtClean="0">
                    <a:latin typeface="Calibri" panose="020F0502020204030204" pitchFamily="34" charset="0"/>
                  </a:rPr>
                  <a:t>are a useful tool for the prediction of performance of a detector system in terms of measurement accuracy 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Can be used to define an </a:t>
                </a:r>
                <a:r>
                  <a:rPr lang="de-DE" sz="1600" b="1" smtClean="0">
                    <a:latin typeface="Calibri" panose="020F0502020204030204" pitchFamily="34" charset="0"/>
                  </a:rPr>
                  <a:t>optimum gain function </a:t>
                </a:r>
                <a:r>
                  <a:rPr lang="de-DE" sz="1600" smtClean="0">
                    <a:latin typeface="Calibri" panose="020F0502020204030204" pitchFamily="34" charset="0"/>
                  </a:rPr>
                  <a:t>for an application according to the respective requirements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Mainly useful for </a:t>
                </a:r>
                <a:r>
                  <a:rPr lang="de-DE" sz="1600" b="1" smtClean="0">
                    <a:latin typeface="Calibri" panose="020F0502020204030204" pitchFamily="34" charset="0"/>
                  </a:rPr>
                  <a:t>counting applications</a:t>
                </a:r>
                <a:r>
                  <a:rPr lang="de-DE" sz="1600" smtClean="0">
                    <a:latin typeface="Calibri" panose="020F0502020204030204" pitchFamily="34" charset="0"/>
                  </a:rPr>
                  <a:t>, significance for spectroscopy is limited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endParaRPr lang="de-DE" sz="1600" smtClean="0">
                  <a:latin typeface="Calibri" panose="020F0502020204030204" pitchFamily="34" charset="0"/>
                </a:endParaRP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The </a:t>
                </a:r>
                <a:r>
                  <a:rPr lang="de-DE" sz="1600" b="1" smtClean="0">
                    <a:latin typeface="Calibri" panose="020F0502020204030204" pitchFamily="34" charset="0"/>
                  </a:rPr>
                  <a:t>Shockley-Ramo theorem </a:t>
                </a:r>
                <a:r>
                  <a:rPr lang="de-DE" sz="1600" smtClean="0">
                    <a:latin typeface="Calibri" panose="020F0502020204030204" pitchFamily="34" charset="0"/>
                  </a:rPr>
                  <a:t>can be used to predic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1" i="1" smtClean="0">
                            <a:latin typeface="Cambria Math" panose="02040503050406030204" pitchFamily="18" charset="0"/>
                          </a:rPr>
                          <m:t>𝒈</m:t>
                        </m:r>
                      </m:e>
                      <m:sub>
                        <m:r>
                          <a:rPr lang="de-DE" sz="1600" b="1" i="1" smtClean="0">
                            <a:latin typeface="Cambria Math" panose="02040503050406030204" pitchFamily="18" charset="0"/>
                          </a:rPr>
                          <m:t>𝑸</m:t>
                        </m:r>
                      </m:sub>
                    </m:sSub>
                  </m:oMath>
                </a14:m>
                <a:r>
                  <a:rPr lang="de-DE" sz="1600" smtClean="0">
                    <a:latin typeface="Calibri" panose="020F0502020204030204" pitchFamily="34" charset="0"/>
                  </a:rPr>
                  <a:t> to be expected for a given layout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b="1" smtClean="0">
                    <a:latin typeface="Calibri" panose="020F0502020204030204" pitchFamily="34" charset="0"/>
                  </a:rPr>
                  <a:t>Modelling method </a:t>
                </a:r>
                <a:r>
                  <a:rPr lang="de-DE" sz="1600" smtClean="0">
                    <a:latin typeface="Calibri" panose="020F0502020204030204" pitchFamily="34" charset="0"/>
                  </a:rPr>
                  <a:t>was developed and tested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Increases understanding of </a:t>
                </a:r>
                <a:r>
                  <a:rPr lang="de-DE" sz="1600" b="1" smtClean="0">
                    <a:latin typeface="Calibri" panose="020F0502020204030204" pitchFamily="34" charset="0"/>
                  </a:rPr>
                  <a:t>amplification mechanism </a:t>
                </a:r>
                <a:r>
                  <a:rPr lang="de-DE" sz="1600" smtClean="0">
                    <a:latin typeface="Calibri" panose="020F0502020204030204" pitchFamily="34" charset="0"/>
                  </a:rPr>
                  <a:t>in DEPFET 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Helps to narrow down </a:t>
                </a:r>
                <a:r>
                  <a:rPr lang="de-DE" sz="1600" b="1" smtClean="0">
                    <a:latin typeface="Calibri" panose="020F0502020204030204" pitchFamily="34" charset="0"/>
                  </a:rPr>
                  <a:t>layout options </a:t>
                </a:r>
                <a:r>
                  <a:rPr lang="de-DE" sz="1600" smtClean="0">
                    <a:latin typeface="Calibri" panose="020F0502020204030204" pitchFamily="34" charset="0"/>
                  </a:rPr>
                  <a:t>prior to simulation for design optimized for a specific application</a:t>
                </a:r>
              </a:p>
              <a:p>
                <a:pPr marL="285750" indent="-285750">
                  <a:spcAft>
                    <a:spcPts val="600"/>
                  </a:spcAft>
                  <a:buClr>
                    <a:schemeClr val="hlink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de-DE" sz="1600" smtClean="0">
                    <a:latin typeface="Calibri" panose="020F0502020204030204" pitchFamily="34" charset="0"/>
                  </a:rPr>
                  <a:t>Insights gained are significant also for </a:t>
                </a:r>
                <a:r>
                  <a:rPr lang="de-DE" sz="1600" b="1" smtClean="0">
                    <a:latin typeface="Calibri" panose="020F0502020204030204" pitchFamily="34" charset="0"/>
                  </a:rPr>
                  <a:t>other DEPFET applications</a:t>
                </a:r>
                <a:endParaRPr lang="de-DE" sz="1600" b="1">
                  <a:latin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5" name="Textfeld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500" y="1247546"/>
                <a:ext cx="5414695" cy="4911088"/>
              </a:xfrm>
              <a:prstGeom prst="rect">
                <a:avLst/>
              </a:prstGeom>
              <a:blipFill>
                <a:blip r:embed="rId2"/>
                <a:stretch>
                  <a:fillRect l="-450" t="-373" r="-1351" b="-74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uppieren 5"/>
          <p:cNvGrpSpPr/>
          <p:nvPr/>
        </p:nvGrpSpPr>
        <p:grpSpPr>
          <a:xfrm>
            <a:off x="7380967" y="2097086"/>
            <a:ext cx="3863296" cy="2997003"/>
            <a:chOff x="7027452" y="1177862"/>
            <a:chExt cx="3863296" cy="2997003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93"/>
            <a:stretch/>
          </p:blipFill>
          <p:spPr>
            <a:xfrm>
              <a:off x="7257650" y="1177862"/>
              <a:ext cx="3633098" cy="2997003"/>
            </a:xfrm>
            <a:prstGeom prst="rect">
              <a:avLst/>
            </a:prstGeom>
          </p:spPr>
        </p:pic>
        <p:sp>
          <p:nvSpPr>
            <p:cNvPr id="2" name="Rechteck 1"/>
            <p:cNvSpPr/>
            <p:nvPr/>
          </p:nvSpPr>
          <p:spPr>
            <a:xfrm>
              <a:off x="7027452" y="1394617"/>
              <a:ext cx="556313" cy="702469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210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Outlook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5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44085" y="1712335"/>
            <a:ext cx="3039386" cy="3623343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992500" y="1408043"/>
            <a:ext cx="5414695" cy="423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Create parametrization for charge density function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Optimize design 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Verify optimized designs by actual 3D-Simulation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smtClean="0">
              <a:latin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Investigate and quantify effect of inductance on operational parameters for other DEPFET applications (RNDR, Inifinipix, Quadropix)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smtClean="0">
              <a:latin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Use insights gained to study the amplification mechanism in the DEPFET channel in detail.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Learn about the effect of charge distribution in the channel on charge amplification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Optimized positioning of internal gate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Imporved performance</a:t>
            </a:r>
            <a:endParaRPr lang="de-DE" sz="16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21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stions?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6</a:t>
            </a:fld>
            <a:endParaRPr lang="de-DE" dirty="0"/>
          </a:p>
        </p:txBody>
      </p:sp>
      <p:pic>
        <p:nvPicPr>
          <p:cNvPr id="6" name="Picture 4" descr="51aefa89-27a9-4fbd-a6ba-e2424c523331@um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B"/>
              </a:clrFrom>
              <a:clrTo>
                <a:srgbClr val="FFFFFB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72363" y="1679400"/>
            <a:ext cx="5352069" cy="355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198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equirements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862396" y="1419026"/>
            <a:ext cx="6158514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troboscopic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imaging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in TEM </a:t>
            </a:r>
            <a:r>
              <a:rPr lang="de-DE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world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is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challenging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: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Fast imaging 	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		→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irect electron detection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Real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pac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imaging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	→ 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Large sensitive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area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High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intensity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	</a:t>
            </a:r>
            <a:r>
              <a:rPr lang="de-DE" sz="1600" b="1" smtClean="0">
                <a:solidFill>
                  <a:srgbClr val="C00000"/>
                </a:solidFill>
                <a:latin typeface="Calibri" panose="020F0502020204030204" pitchFamily="34" charset="0"/>
              </a:rPr>
              <a:t>		→ 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High </a:t>
            </a:r>
            <a:r>
              <a:rPr lang="de-DE" sz="1600" b="1" err="1">
                <a:solidFill>
                  <a:srgbClr val="C00000"/>
                </a:solidFill>
                <a:latin typeface="Calibri" panose="020F0502020204030204" pitchFamily="34" charset="0"/>
              </a:rPr>
              <a:t>dynamic</a:t>
            </a: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 range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High contrast range	</a:t>
            </a:r>
            <a:r>
              <a:rPr lang="de-DE" sz="1600" b="1" smtClean="0">
                <a:solidFill>
                  <a:srgbClr val="C00000"/>
                </a:solidFill>
                <a:latin typeface="Calibri" panose="020F0502020204030204" pitchFamily="34" charset="0"/>
              </a:rPr>
              <a:t>		→ </a:t>
            </a: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Signal compression in sensor</a:t>
            </a:r>
            <a:endParaRPr lang="de-DE" sz="1600" b="1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irect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electron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etection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→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Thin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ubstrate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High pulse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frequency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→ 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High framerate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"Grey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cal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"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imag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	→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No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ata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reduction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possible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mall volume	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			→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Extremely high integration density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536" y="1891622"/>
            <a:ext cx="3520424" cy="282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4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equirements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947739" y="1412902"/>
            <a:ext cx="4959075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latin typeface="Calibri" panose="020F0502020204030204" pitchFamily="34" charset="0"/>
              </a:rPr>
              <a:t>Dynamic </a:t>
            </a:r>
            <a:r>
              <a:rPr lang="de-DE" sz="1600" b="1" dirty="0" err="1">
                <a:latin typeface="Calibri" panose="020F0502020204030204" pitchFamily="34" charset="0"/>
              </a:rPr>
              <a:t>range</a:t>
            </a:r>
            <a:endParaRPr lang="de-DE" sz="1600" b="1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 Single </a:t>
            </a:r>
            <a:r>
              <a:rPr lang="de-DE" sz="1600" dirty="0" err="1">
                <a:latin typeface="Calibri" panose="020F0502020204030204" pitchFamily="34" charset="0"/>
              </a:rPr>
              <a:t>primary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lectro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ensitivity</a:t>
            </a:r>
            <a:endParaRPr lang="de-DE" sz="1600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Primary </a:t>
            </a:r>
            <a:r>
              <a:rPr lang="de-DE" sz="1600" dirty="0" err="1">
                <a:latin typeface="Calibri" panose="020F0502020204030204" pitchFamily="34" charset="0"/>
              </a:rPr>
              <a:t>electron</a:t>
            </a:r>
            <a:r>
              <a:rPr lang="de-DE" sz="1600" dirty="0">
                <a:latin typeface="Calibri" panose="020F0502020204030204" pitchFamily="34" charset="0"/>
              </a:rPr>
              <a:t> @ 300 </a:t>
            </a:r>
            <a:r>
              <a:rPr lang="de-DE" sz="1600" dirty="0" err="1">
                <a:latin typeface="Calibri" panose="020F0502020204030204" pitchFamily="34" charset="0"/>
              </a:rPr>
              <a:t>keV</a:t>
            </a:r>
            <a:r>
              <a:rPr lang="de-DE" sz="1600" dirty="0">
                <a:latin typeface="Calibri" panose="020F0502020204030204" pitchFamily="34" charset="0"/>
              </a:rPr>
              <a:t> on 50 µm Si</a:t>
            </a: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dirty="0">
                <a:latin typeface="Calibri" panose="020F0502020204030204" pitchFamily="34" charset="0"/>
              </a:rPr>
              <a:t>	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→</a:t>
            </a:r>
            <a:r>
              <a:rPr lang="de-DE" sz="1600" b="1" dirty="0"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Distinguish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8k e-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from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noise</a:t>
            </a:r>
            <a:endParaRPr lang="de-DE" sz="1600" b="1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50 (</a:t>
            </a:r>
            <a:r>
              <a:rPr lang="de-DE" sz="1600" dirty="0" err="1">
                <a:latin typeface="Calibri" panose="020F0502020204030204" pitchFamily="34" charset="0"/>
              </a:rPr>
              <a:t>better</a:t>
            </a:r>
            <a:r>
              <a:rPr lang="de-DE" sz="1600" dirty="0">
                <a:latin typeface="Calibri" panose="020F0502020204030204" pitchFamily="34" charset="0"/>
              </a:rPr>
              <a:t> 100) </a:t>
            </a:r>
            <a:r>
              <a:rPr lang="de-DE" sz="1600" dirty="0" err="1">
                <a:latin typeface="Calibri" panose="020F0502020204030204" pitchFamily="34" charset="0"/>
              </a:rPr>
              <a:t>primaries</a:t>
            </a:r>
            <a:r>
              <a:rPr lang="de-DE" sz="1600" dirty="0">
                <a:latin typeface="Calibri" panose="020F0502020204030204" pitchFamily="34" charset="0"/>
              </a:rPr>
              <a:t> per </a:t>
            </a:r>
            <a:r>
              <a:rPr lang="de-DE" sz="1600" dirty="0" err="1">
                <a:latin typeface="Calibri" panose="020F0502020204030204" pitchFamily="34" charset="0"/>
              </a:rPr>
              <a:t>pixel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provid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nough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ntrast</a:t>
            </a:r>
            <a:endParaRPr lang="de-DE" sz="1600" dirty="0">
              <a:latin typeface="Calibri" panose="020F0502020204030204" pitchFamily="34" charset="0"/>
            </a:endParaRP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dirty="0">
                <a:latin typeface="Calibri" panose="020F0502020204030204" pitchFamily="34" charset="0"/>
              </a:rPr>
              <a:t>	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→</a:t>
            </a:r>
            <a:r>
              <a:rPr lang="de-DE" sz="1600" b="1" dirty="0">
                <a:latin typeface="Calibri" panose="020F0502020204030204" pitchFamily="34" charset="0"/>
              </a:rPr>
              <a:t> 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800k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signal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electrons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to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be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Calibri" panose="020F0502020204030204" pitchFamily="34" charset="0"/>
              </a:rPr>
              <a:t>stored</a:t>
            </a:r>
            <a:r>
              <a:rPr lang="de-DE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in </a:t>
            </a:r>
            <a:r>
              <a:rPr lang="de-DE" sz="1600" b="1" smtClean="0">
                <a:solidFill>
                  <a:srgbClr val="C00000"/>
                </a:solidFill>
                <a:latin typeface="Calibri" panose="020F0502020204030204" pitchFamily="34" charset="0"/>
              </a:rPr>
              <a:t>pixel</a:t>
            </a: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Operation in </a:t>
            </a:r>
            <a:r>
              <a:rPr lang="de-DE" sz="1600" b="1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vacuum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: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mall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volum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/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extremely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compact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etup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Cooling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/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thermal 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tabilization difficult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421439" y="1419090"/>
            <a:ext cx="5654947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Multiple scattering: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Thin sensitive detector substrate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No support layer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Highly efficient beam dump for traversing electons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Advanced thermal </a:t>
            </a:r>
            <a:r>
              <a:rPr lang="de-DE" sz="160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upport</a:t>
            </a: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endParaRPr lang="de-DE" sz="160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ata </a:t>
            </a:r>
            <a:r>
              <a:rPr lang="de-DE" sz="16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rate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Max.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burst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frequency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100 Hz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( 50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frames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each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)</a:t>
            </a:r>
            <a:endParaRPr lang="de-DE" sz="1600" baseline="300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igitization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with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8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bit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resolution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1085850" lvl="2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Til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modul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ata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rate 1.28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GByt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/s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gross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1085850" lvl="2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Total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ata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rate </a:t>
            </a:r>
            <a:r>
              <a:rPr lang="de-DE" sz="16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~ 6.4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GByte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/s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gross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1085850" lvl="2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ata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reduction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/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zero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suppression</a:t>
            </a:r>
            <a:r>
              <a:rPr lang="de-DE" sz="1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difficult</a:t>
            </a:r>
            <a:endParaRPr lang="de-DE" sz="1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5117456" y="755967"/>
            <a:ext cx="2427943" cy="1153459"/>
            <a:chOff x="5117456" y="755967"/>
            <a:chExt cx="2498633" cy="1153459"/>
          </a:xfrm>
        </p:grpSpPr>
        <p:sp>
          <p:nvSpPr>
            <p:cNvPr id="7" name="Gefaltete Ecke 6"/>
            <p:cNvSpPr/>
            <p:nvPr/>
          </p:nvSpPr>
          <p:spPr>
            <a:xfrm>
              <a:off x="5117456" y="755967"/>
              <a:ext cx="2498633" cy="1153459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3175" cmpd="sng">
              <a:solidFill>
                <a:srgbClr val="C00000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feld 3"/>
                <p:cNvSpPr txBox="1"/>
                <p:nvPr/>
              </p:nvSpPr>
              <p:spPr>
                <a:xfrm>
                  <a:off x="5237454" y="836568"/>
                  <a:ext cx="2378635" cy="92333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algn="l">
                    <a:lnSpc>
                      <a:spcPct val="150000"/>
                    </a:lnSpc>
                  </a:pPr>
                  <a:r>
                    <a:rPr lang="de-DE" sz="1000" b="1" smtClean="0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Translation:</a:t>
                  </a:r>
                </a:p>
                <a:p>
                  <a:pPr algn="l">
                    <a:lnSpc>
                      <a:spcPct val="150000"/>
                    </a:lnSpc>
                  </a:pPr>
                  <a:r>
                    <a:rPr lang="de-DE" sz="1000" smtClean="0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ystem noise must be significantly lower than minimum signal amplitud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de-DE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𝑜𝑢𝑡</m:t>
                          </m:r>
                        </m:sub>
                      </m:sSub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sz="1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de-DE" sz="1000" b="0" i="1" smtClean="0">
                                  <a:latin typeface="Cambria Math" panose="02040503050406030204" pitchFamily="18" charset="0"/>
                                </a:rPr>
                                <m:t>𝑀𝑖𝑛</m:t>
                              </m:r>
                            </m:sub>
                          </m:sSub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a:rPr lang="de-DE" sz="1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</m:t>
                      </m:r>
                      <m:r>
                        <a:rPr lang="de-DE" sz="1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</m:oMath>
                  </a14:m>
                  <a:endParaRPr lang="de-DE" sz="1000" dirty="0" err="1" smtClean="0"/>
                </a:p>
              </p:txBody>
            </p:sp>
          </mc:Choice>
          <mc:Fallback xmlns="">
            <p:sp>
              <p:nvSpPr>
                <p:cNvPr id="4" name="Textfeld 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37454" y="836568"/>
                  <a:ext cx="2378635" cy="923330"/>
                </a:xfrm>
                <a:prstGeom prst="rect">
                  <a:avLst/>
                </a:prstGeom>
                <a:blipFill>
                  <a:blip r:embed="rId2"/>
                  <a:stretch>
                    <a:fillRect l="-343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9" name="Gruppieren 8"/>
          <p:cNvGrpSpPr/>
          <p:nvPr/>
        </p:nvGrpSpPr>
        <p:grpSpPr>
          <a:xfrm>
            <a:off x="5748442" y="4482318"/>
            <a:ext cx="2775301" cy="1153459"/>
            <a:chOff x="5117456" y="755967"/>
            <a:chExt cx="2498633" cy="1153459"/>
          </a:xfrm>
        </p:grpSpPr>
        <p:sp>
          <p:nvSpPr>
            <p:cNvPr id="10" name="Gefaltete Ecke 9"/>
            <p:cNvSpPr/>
            <p:nvPr/>
          </p:nvSpPr>
          <p:spPr>
            <a:xfrm>
              <a:off x="5117456" y="755967"/>
              <a:ext cx="2498633" cy="1153459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3175" cmpd="sng">
              <a:solidFill>
                <a:srgbClr val="C00000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feld 10"/>
                <p:cNvSpPr txBox="1"/>
                <p:nvPr/>
              </p:nvSpPr>
              <p:spPr>
                <a:xfrm>
                  <a:off x="5237454" y="836568"/>
                  <a:ext cx="2154114" cy="92333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1000" b="1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Translation</a:t>
                  </a:r>
                  <a:r>
                    <a:rPr lang="en-US" sz="1000" b="1" smtClean="0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: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sz="1000" smtClean="0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Amplitude </a:t>
                  </a:r>
                  <a:r>
                    <a:rPr lang="en-US" sz="1000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for maximum stimulus must be</a:t>
                  </a:r>
                </a:p>
                <a:p>
                  <a:pPr algn="l">
                    <a:lnSpc>
                      <a:spcPct val="150000"/>
                    </a:lnSpc>
                  </a:pPr>
                  <a:r>
                    <a:rPr lang="de-DE" sz="1000" smtClean="0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smaller than or equal to maximum amplitude</a:t>
                  </a:r>
                  <a:endParaRPr lang="de-DE" sz="1000" b="0" i="0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  <a:p>
                  <a:pPr algn="l"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000" b="0" i="0" smtClean="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de-DE" sz="1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000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sz="1000" b="0" i="1" smtClean="0">
                                <a:latin typeface="Cambria Math" panose="02040503050406030204" pitchFamily="18" charset="0"/>
                              </a:rPr>
                              <m:t>𝑜𝑢𝑡</m:t>
                            </m:r>
                          </m:sub>
                        </m:sSub>
                        <m:d>
                          <m:dPr>
                            <m:ctrlPr>
                              <a:rPr lang="de-DE" sz="10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1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000" b="0" i="1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de-DE" sz="1000" b="0" i="1" smtClean="0">
                                    <a:latin typeface="Cambria Math" panose="02040503050406030204" pitchFamily="18" charset="0"/>
                                  </a:rPr>
                                  <m:t>𝑀𝑎𝑥</m:t>
                                </m:r>
                              </m:sub>
                            </m:sSub>
                          </m:e>
                        </m:d>
                        <m:r>
                          <a:rPr lang="de-DE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sSub>
                          <m:sSubPr>
                            <m:ctrlPr>
                              <a:rPr lang="de-DE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de-DE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𝑀𝑎𝑥</m:t>
                            </m:r>
                          </m:sub>
                        </m:sSub>
                      </m:oMath>
                    </m:oMathPara>
                  </a14:m>
                  <a:endParaRPr lang="de-DE" sz="1000" dirty="0" err="1" smtClean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11" name="Textfeld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37454" y="836568"/>
                  <a:ext cx="2154114" cy="923330"/>
                </a:xfrm>
                <a:prstGeom prst="rect">
                  <a:avLst/>
                </a:prstGeom>
                <a:blipFill>
                  <a:blip r:embed="rId3"/>
                  <a:stretch>
                    <a:fillRect l="-3316" r="-102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3" name="Gerader Verbinder 12"/>
          <p:cNvCxnSpPr>
            <a:stCxn id="7" idx="2"/>
          </p:cNvCxnSpPr>
          <p:nvPr/>
        </p:nvCxnSpPr>
        <p:spPr>
          <a:xfrm flipH="1">
            <a:off x="4667625" y="1909426"/>
            <a:ext cx="1663803" cy="857680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stCxn id="10" idx="1"/>
          </p:cNvCxnSpPr>
          <p:nvPr/>
        </p:nvCxnSpPr>
        <p:spPr>
          <a:xfrm flipH="1" flipV="1">
            <a:off x="4207436" y="3989024"/>
            <a:ext cx="1541006" cy="1070024"/>
          </a:xfrm>
          <a:prstGeom prst="line">
            <a:avLst/>
          </a:prstGeom>
          <a:ln w="3175" cmpd="sng"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408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947739" y="1408670"/>
            <a:ext cx="4365343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534988" indent="-263525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  <a:spcAft>
                <a:spcPts val="600"/>
              </a:spcAft>
              <a:buClrTx/>
              <a:defRPr/>
            </a:pPr>
            <a:r>
              <a:rPr lang="de-DE" altLang="de-DE" sz="1600" b="1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Needed:</a:t>
            </a:r>
            <a:endParaRPr lang="en-US" altLang="de-DE" sz="1600" b="1" dirty="0">
              <a:latin typeface="Calibri" pitchFamily="34" charset="0"/>
              <a:ea typeface="MS Mincho" pitchFamily="49" charset="-128"/>
              <a:cs typeface="Calibri" pitchFamily="34" charset="0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Model tool to investigate interdependence between: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Maximum input signal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Maximum output amplitude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Nature of signal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System gain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System noise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Noise threshold</a:t>
            </a:r>
          </a:p>
          <a:p>
            <a:pPr marL="538163" lvl="1" indent="204788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Minimum detectable signal</a:t>
            </a:r>
            <a:endParaRPr lang="en-US" altLang="de-DE" sz="1600" dirty="0">
              <a:latin typeface="Calibri" pitchFamily="34" charset="0"/>
              <a:ea typeface="MS Mincho" pitchFamily="49" charset="-128"/>
            </a:endParaRPr>
          </a:p>
          <a:p>
            <a:pPr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defRPr/>
            </a:pPr>
            <a:r>
              <a:rPr lang="en-US" altLang="de-DE" sz="1600" smtClean="0">
                <a:latin typeface="Calibri" pitchFamily="34" charset="0"/>
                <a:ea typeface="MS Mincho" pitchFamily="49" charset="-128"/>
              </a:rPr>
              <a:t>    ... using some simplifications.</a:t>
            </a:r>
          </a:p>
          <a:p>
            <a:pPr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defRPr/>
            </a:pPr>
            <a:endParaRPr lang="en-US" altLang="de-DE" sz="1600" smtClean="0">
              <a:latin typeface="Calibri" pitchFamily="34" charset="0"/>
              <a:ea typeface="MS Mincho" pitchFamily="49" charset="-128"/>
            </a:endParaRPr>
          </a:p>
          <a:p>
            <a:pPr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defRPr/>
            </a:pPr>
            <a:r>
              <a:rPr lang="en-US" altLang="de-DE" sz="1600" b="1" smtClean="0">
                <a:solidFill>
                  <a:srgbClr val="C00000"/>
                </a:solidFill>
                <a:latin typeface="Calibri" pitchFamily="34" charset="0"/>
                <a:ea typeface="MS Mincho" pitchFamily="49" charset="-128"/>
              </a:rPr>
              <a:t>            Accuracy function</a:t>
            </a:r>
          </a:p>
        </p:txBody>
      </p:sp>
      <p:pic>
        <p:nvPicPr>
          <p:cNvPr id="6" name="Grafik 6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613" y="220722"/>
            <a:ext cx="5208434" cy="3018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3"/>
              <p:cNvSpPr txBox="1">
                <a:spLocks noChangeArrowheads="1"/>
              </p:cNvSpPr>
              <p:nvPr/>
            </p:nvSpPr>
            <p:spPr bwMode="auto">
              <a:xfrm>
                <a:off x="4995119" y="3501834"/>
                <a:ext cx="6436153" cy="2293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1pPr>
                <a:lvl2pPr marL="742950" indent="-285750" eaLnBrk="0" hangingPunct="0"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2pPr>
                <a:lvl3pPr marL="534988" indent="-263525" eaLnBrk="0" hangingPunct="0"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3pPr>
                <a:lvl4pPr marL="1600200" indent="-228600" eaLnBrk="0" hangingPunct="0"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4pPr>
                <a:lvl5pPr marL="2057400" indent="-228600" eaLnBrk="0" hangingPunct="0"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hlink"/>
                  </a:buClr>
                  <a:buFont typeface="Wingdings" pitchFamily="2" charset="2"/>
                  <a:tabLst>
                    <a:tab pos="1438275" algn="l"/>
                  </a:tabLst>
                  <a:defRPr>
                    <a:solidFill>
                      <a:schemeClr val="tx1"/>
                    </a:solidFill>
                    <a:latin typeface="Comic Sans MS" pitchFamily="66" charset="0"/>
                  </a:defRPr>
                </a:lvl9pPr>
              </a:lstStyle>
              <a:p>
                <a:pPr marL="180975" indent="-180975" eaLnBrk="1" hangingPunct="1">
                  <a:lnSpc>
                    <a:spcPts val="16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D9D9D9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Detector is </a:t>
                </a:r>
                <a:r>
                  <a:rPr lang="de-DE" altLang="de-DE" sz="1600" b="1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black box </a:t>
                </a: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converting a stimulus </a:t>
                </a:r>
                <a14:m>
                  <m:oMath xmlns:m="http://schemas.openxmlformats.org/officeDocument/2006/math"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𝑆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 </m:t>
                    </m:r>
                  </m:oMath>
                </a14:m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into an amplitude </a:t>
                </a:r>
                <a14:m>
                  <m:oMath xmlns:m="http://schemas.openxmlformats.org/officeDocument/2006/math"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𝐴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(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𝑆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)</m:t>
                    </m:r>
                  </m:oMath>
                </a14:m>
                <a:endParaRPr lang="de-DE" altLang="de-DE" sz="1600" smtClean="0">
                  <a:latin typeface="Calibri" pitchFamily="34" charset="0"/>
                  <a:ea typeface="MS Mincho" pitchFamily="49" charset="-128"/>
                  <a:cs typeface="Calibri" pitchFamily="34" charset="0"/>
                </a:endParaRPr>
              </a:p>
              <a:p>
                <a:pPr marL="180975" indent="-180975" eaLnBrk="1" hangingPunct="1">
                  <a:lnSpc>
                    <a:spcPts val="16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D9D9D9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60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Stimulus has variations </a:t>
                </a:r>
                <a14:m>
                  <m:oMath xmlns:m="http://schemas.openxmlformats.org/officeDocument/2006/math">
                    <m:r>
                      <a:rPr lang="de-DE" altLang="de-DE" sz="16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(</m:t>
                    </m:r>
                    <m:r>
                      <a:rPr lang="de-DE" alt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∆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𝑆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,∆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𝑁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)</m:t>
                    </m:r>
                  </m:oMath>
                </a14:m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 depending </a:t>
                </a:r>
                <a:r>
                  <a:rPr lang="de-DE" altLang="de-DE" sz="160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on its </a:t>
                </a: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nature</a:t>
                </a:r>
              </a:p>
              <a:p>
                <a:pPr marL="180975" indent="-180975" eaLnBrk="1" hangingPunct="1">
                  <a:lnSpc>
                    <a:spcPts val="16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D9D9D9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Amplitude is limited (</a:t>
                </a:r>
                <a14:m>
                  <m:oMath xmlns:m="http://schemas.openxmlformats.org/officeDocument/2006/math"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𝐴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(</m:t>
                    </m:r>
                    <m:sSub>
                      <m:sSubPr>
                        <m:ctrlP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</m:ctrlPr>
                      </m:sSub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  <m:t>𝑆</m:t>
                        </m:r>
                      </m:e>
                      <m:sub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  <m:t>𝑀𝑎𝑥</m:t>
                        </m:r>
                      </m:sub>
                    </m:sSub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)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≤</m:t>
                    </m:r>
                    <m:sSub>
                      <m:sSubPr>
                        <m:ctrlPr>
                          <a:rPr lang="de-DE" altLang="de-DE" sz="16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</m:ctrlPr>
                      </m:sSubPr>
                      <m:e>
                        <m:r>
                          <a:rPr lang="de-DE" altLang="de-DE" sz="16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  <m:t>𝑨</m:t>
                        </m:r>
                      </m:e>
                      <m:sub>
                        <m:r>
                          <a:rPr lang="de-DE" altLang="de-DE" sz="16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  <m:t>𝑴𝒂𝒙</m:t>
                        </m:r>
                      </m:sub>
                    </m:sSub>
                  </m:oMath>
                </a14:m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) and adds a (constant) noise contribution </a:t>
                </a:r>
                <a14:m>
                  <m:oMath xmlns:m="http://schemas.openxmlformats.org/officeDocument/2006/math">
                    <m:r>
                      <a:rPr lang="de-DE" altLang="de-DE" sz="1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∆</m:t>
                    </m:r>
                    <m:r>
                      <a:rPr lang="de-DE" altLang="de-DE" sz="16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𝑨</m:t>
                    </m:r>
                  </m:oMath>
                </a14:m>
                <a:endParaRPr lang="de-DE" altLang="de-DE" sz="1600" b="1" smtClean="0">
                  <a:latin typeface="Calibri" pitchFamily="34" charset="0"/>
                  <a:ea typeface="MS Mincho" pitchFamily="49" charset="-128"/>
                  <a:cs typeface="Calibri" pitchFamily="34" charset="0"/>
                </a:endParaRPr>
              </a:p>
              <a:p>
                <a:pPr marL="180975" indent="-180975" eaLnBrk="1" hangingPunct="1">
                  <a:lnSpc>
                    <a:spcPts val="16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D9D9D9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Stimulus can be recovered using an effective calibration function</a:t>
                </a:r>
                <a14:m>
                  <m:oMath xmlns:m="http://schemas.openxmlformats.org/officeDocument/2006/math"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 </m:t>
                    </m:r>
                    <m:acc>
                      <m:accPr>
                        <m:chr m:val="̃"/>
                        <m:ctrlP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</m:ctrlPr>
                      </m:acc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  <m:t>𝑆</m:t>
                        </m:r>
                      </m:e>
                    </m:acc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(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𝐴</m:t>
                    </m:r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)</m:t>
                    </m:r>
                  </m:oMath>
                </a14:m>
                <a:endParaRPr lang="de-DE" altLang="de-DE" sz="1600" smtClean="0">
                  <a:latin typeface="Calibri" pitchFamily="34" charset="0"/>
                  <a:ea typeface="MS Mincho" pitchFamily="49" charset="-128"/>
                  <a:cs typeface="Calibri" pitchFamily="34" charset="0"/>
                </a:endParaRPr>
              </a:p>
              <a:p>
                <a:pPr marL="180975" indent="-180975" eaLnBrk="1" hangingPunct="1">
                  <a:lnSpc>
                    <a:spcPts val="16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D9D9D9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Recovered stimulus </a:t>
                </a:r>
                <a14:m>
                  <m:oMath xmlns:m="http://schemas.openxmlformats.org/officeDocument/2006/math">
                    <m:acc>
                      <m:accPr>
                        <m:chr m:val="̃"/>
                        <m:ctrlPr>
                          <a:rPr lang="de-DE" altLang="de-DE" sz="160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</m:ctrlPr>
                      </m:acc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  <m:t>𝑆</m:t>
                        </m:r>
                      </m:e>
                    </m:acc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MS Mincho" pitchFamily="49" charset="-128"/>
                        <a:cs typeface="Calibri" pitchFamily="34" charset="0"/>
                      </a:rPr>
                      <m:t>,</m:t>
                    </m:r>
                    <m:acc>
                      <m:accPr>
                        <m:chr m:val="̃"/>
                        <m:ctrlP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</m:ctrlPr>
                      </m:acc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MS Mincho" pitchFamily="49" charset="-128"/>
                            <a:cs typeface="Calibri" pitchFamily="34" charset="0"/>
                          </a:rPr>
                          <m:t>𝑁</m:t>
                        </m:r>
                      </m:e>
                    </m:acc>
                  </m:oMath>
                </a14:m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 has variation </a:t>
                </a:r>
                <a14:m>
                  <m:oMath xmlns:m="http://schemas.openxmlformats.org/officeDocument/2006/math">
                    <m:r>
                      <a:rPr lang="de-DE" alt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∆</m:t>
                    </m:r>
                    <m:acc>
                      <m:accPr>
                        <m:chr m:val="̃"/>
                        <m:ctrlPr>
                          <a:rPr lang="de-DE" alt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</m:ctrlPr>
                      </m:acc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  <m:t>𝑁</m:t>
                        </m:r>
                      </m:e>
                    </m:acc>
                    <m:r>
                      <a:rPr lang="de-DE" alt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itchFamily="34" charset="0"/>
                      </a:rPr>
                      <m:t>, ∆</m:t>
                    </m:r>
                    <m:acc>
                      <m:accPr>
                        <m:chr m:val="̃"/>
                        <m:ctrlPr>
                          <a:rPr lang="de-DE" alt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</m:ctrlPr>
                      </m:accPr>
                      <m:e>
                        <m:r>
                          <a:rPr lang="de-DE" alt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itchFamily="34" charset="0"/>
                          </a:rPr>
                          <m:t>𝑆</m:t>
                        </m:r>
                      </m:e>
                    </m:acc>
                  </m:oMath>
                </a14:m>
                <a:endParaRPr lang="de-DE" altLang="de-DE" sz="1600" smtClean="0">
                  <a:latin typeface="Calibri" pitchFamily="34" charset="0"/>
                  <a:ea typeface="MS Mincho" pitchFamily="49" charset="-128"/>
                  <a:cs typeface="Calibri" pitchFamily="34" charset="0"/>
                </a:endParaRPr>
              </a:p>
              <a:p>
                <a:pPr marL="180975" indent="-180975" eaLnBrk="1" hangingPunct="1">
                  <a:lnSpc>
                    <a:spcPts val="16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D9D9D9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600" smtClean="0">
                    <a:latin typeface="Calibri" pitchFamily="34" charset="0"/>
                    <a:ea typeface="MS Mincho" pitchFamily="49" charset="-128"/>
                    <a:cs typeface="Calibri" pitchFamily="34" charset="0"/>
                  </a:rPr>
                  <a:t>Accuracy function describes the error on the reconstructed stimulus as a function of the original stimulus:</a:t>
                </a:r>
              </a:p>
            </p:txBody>
          </p:sp>
        </mc:Choice>
        <mc:Fallback xmlns="">
          <p:sp>
            <p:nvSpPr>
              <p:cNvPr id="7" name="Rectangle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995119" y="3501834"/>
                <a:ext cx="6436153" cy="2293938"/>
              </a:xfrm>
              <a:prstGeom prst="rect">
                <a:avLst/>
              </a:prstGeom>
              <a:blipFill>
                <a:blip r:embed="rId3"/>
                <a:stretch>
                  <a:fillRect l="-379" t="-2387" b="-1140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/>
              <p:cNvSpPr txBox="1"/>
              <p:nvPr/>
            </p:nvSpPr>
            <p:spPr>
              <a:xfrm>
                <a:off x="8304305" y="5914413"/>
                <a:ext cx="1887761" cy="29495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acc>
                        <m:accPr>
                          <m:chr m:val="̃"/>
                          <m:ctrlPr>
                            <a:rPr lang="de-DE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𝑵</m:t>
                          </m:r>
                        </m:e>
                      </m:acc>
                      <m:d>
                        <m:dPr>
                          <m:ctrlPr>
                            <a:rPr lang="de-DE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</m:t>
                          </m:r>
                          <m:d>
                            <m:dPr>
                              <m:ctrlPr>
                                <a:rPr lang="de-DE" sz="16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𝑵</m:t>
                              </m:r>
                            </m:e>
                          </m:d>
                        </m:e>
                      </m:d>
                      <m:r>
                        <a:rPr lang="de-DE" sz="1600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sz="1600" b="1" i="1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acc>
                        <m:accPr>
                          <m:chr m:val="̃"/>
                          <m:ctrlPr>
                            <a:rPr lang="de-DE" sz="1600" b="1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𝑺</m:t>
                          </m:r>
                        </m:e>
                      </m:acc>
                      <m:d>
                        <m:dPr>
                          <m:ctrlPr>
                            <a:rPr lang="de-DE" sz="1600" b="1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1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𝑨</m:t>
                          </m:r>
                          <m:d>
                            <m:dPr>
                              <m:ctrlPr>
                                <a:rPr lang="de-DE" sz="1600" b="1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1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𝑺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de-DE" sz="1600" b="1" dirty="0" err="1" smtClean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8" name="Textfeld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4305" y="5914413"/>
                <a:ext cx="1887761" cy="294953"/>
              </a:xfrm>
              <a:prstGeom prst="rect">
                <a:avLst/>
              </a:prstGeom>
              <a:blipFill>
                <a:blip r:embed="rId4"/>
                <a:stretch>
                  <a:fillRect l="-1935" t="-408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Pfeil nach rechts 8"/>
          <p:cNvSpPr/>
          <p:nvPr/>
        </p:nvSpPr>
        <p:spPr>
          <a:xfrm>
            <a:off x="1155552" y="5693438"/>
            <a:ext cx="344542" cy="127985"/>
          </a:xfrm>
          <a:prstGeom prst="rightArrow">
            <a:avLst/>
          </a:prstGeom>
          <a:solidFill>
            <a:srgbClr val="C00000"/>
          </a:solidFill>
          <a:ln w="3175" cmpd="sng">
            <a:solidFill>
              <a:srgbClr val="C0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78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sp>
        <p:nvSpPr>
          <p:cNvPr id="5" name="Textfeld 10"/>
          <p:cNvSpPr txBox="1">
            <a:spLocks noChangeArrowheads="1"/>
          </p:cNvSpPr>
          <p:nvPr/>
        </p:nvSpPr>
        <p:spPr bwMode="auto">
          <a:xfrm>
            <a:off x="947739" y="1316505"/>
            <a:ext cx="3700462" cy="470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/>
              <a:t>Stimulus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/>
              <a:t>Total stimulus is sum of N individual quanta (electrons / photons)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ea typeface="Times New Roman" panose="02020603050405020304" pitchFamily="18" charset="0"/>
                <a:cs typeface="Times New Roman" panose="02020603050405020304" pitchFamily="18" charset="0"/>
              </a:rPr>
              <a:t>Monoenergetic</a:t>
            </a: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, varying around a common mean stimulus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For </a:t>
            </a:r>
            <a:r>
              <a:rPr lang="de-DE" sz="1600" b="1">
                <a:ea typeface="Times New Roman" panose="02020603050405020304" pitchFamily="18" charset="0"/>
                <a:cs typeface="Times New Roman" panose="02020603050405020304" pitchFamily="18" charset="0"/>
              </a:rPr>
              <a:t>counting applications</a:t>
            </a: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is the signal to be retrieved.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851" y="2519078"/>
            <a:ext cx="1407967" cy="494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852" y="3808879"/>
            <a:ext cx="47339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7614" y="5091579"/>
            <a:ext cx="15811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2289" y="2421000"/>
            <a:ext cx="5232352" cy="678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5162551" y="3073868"/>
            <a:ext cx="29718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de-DE" altLang="de-DE" sz="1600" i="1">
                <a:latin typeface="Calibri" panose="020F0502020204030204" pitchFamily="34" charset="0"/>
              </a:rPr>
              <a:t>Error given by Fano and „Landau“</a:t>
            </a:r>
          </a:p>
        </p:txBody>
      </p:sp>
      <p:pic>
        <p:nvPicPr>
          <p:cNvPr id="14" name="Picture 2" descr="2A60A2B8-FE33-4E8D-8C87-EC05DCEA2C9B-L0-001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3" t="2917" r="1934" b="801"/>
          <a:stretch/>
        </p:blipFill>
        <p:spPr bwMode="auto">
          <a:xfrm>
            <a:off x="8776022" y="1526843"/>
            <a:ext cx="2714725" cy="327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425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sp>
        <p:nvSpPr>
          <p:cNvPr id="5" name="Textfeld 10"/>
          <p:cNvSpPr txBox="1">
            <a:spLocks noChangeArrowheads="1"/>
          </p:cNvSpPr>
          <p:nvPr/>
        </p:nvSpPr>
        <p:spPr bwMode="auto">
          <a:xfrm>
            <a:off x="947739" y="1258329"/>
            <a:ext cx="3767137" cy="255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/>
              <a:t>Finding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/>
              <a:t>Any unspecified gain function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/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/>
              <a:t>Yields </a:t>
            </a:r>
            <a:r>
              <a:rPr lang="de-DE" sz="1600" smtClean="0"/>
              <a:t>a generalized accuracy </a:t>
            </a:r>
            <a:r>
              <a:rPr lang="de-DE" sz="1600"/>
              <a:t>function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738" y="2260861"/>
            <a:ext cx="22574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739" y="3180790"/>
            <a:ext cx="652462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0"/>
          <p:cNvSpPr txBox="1">
            <a:spLocks noChangeArrowheads="1"/>
          </p:cNvSpPr>
          <p:nvPr/>
        </p:nvSpPr>
        <p:spPr bwMode="auto">
          <a:xfrm>
            <a:off x="947738" y="4288866"/>
            <a:ext cx="3973512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/>
              <a:t>Needed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/>
              <a:t>First derivative of the </a:t>
            </a:r>
            <a:r>
              <a:rPr lang="de-DE" sz="1600" smtClean="0"/>
              <a:t>inverse wrt. A</a:t>
            </a:r>
            <a:endParaRPr lang="de-DE" sz="1600"/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Partial derivatives </a:t>
            </a:r>
            <a:r>
              <a:rPr lang="de-DE" sz="16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wrt. </a:t>
            </a: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S and N</a:t>
            </a:r>
          </a:p>
        </p:txBody>
      </p:sp>
      <p:sp>
        <p:nvSpPr>
          <p:cNvPr id="9" name="Textfeld 10"/>
          <p:cNvSpPr txBox="1">
            <a:spLocks noChangeArrowheads="1"/>
          </p:cNvSpPr>
          <p:nvPr/>
        </p:nvSpPr>
        <p:spPr bwMode="auto">
          <a:xfrm>
            <a:off x="4857936" y="4352809"/>
            <a:ext cx="5602100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 smtClean="0"/>
              <a:t>„Valid“ </a:t>
            </a:r>
            <a:r>
              <a:rPr lang="de-DE" altLang="de-DE" sz="1600" b="1"/>
              <a:t>gain function must be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/>
              <a:t>Invertible, continuous</a:t>
            </a:r>
            <a:endParaRPr lang="de-DE" sz="1600"/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Derivative of the inverse must </a:t>
            </a:r>
            <a:r>
              <a:rPr lang="de-DE" sz="16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exist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Must be (piecewise) differentiable with respect to S and N</a:t>
            </a: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4" name="Gruppieren 13"/>
          <p:cNvGrpSpPr/>
          <p:nvPr/>
        </p:nvGrpSpPr>
        <p:grpSpPr>
          <a:xfrm>
            <a:off x="2599767" y="1946440"/>
            <a:ext cx="4069415" cy="754926"/>
            <a:chOff x="2599767" y="1946440"/>
            <a:chExt cx="4069415" cy="754926"/>
          </a:xfrm>
        </p:grpSpPr>
        <p:sp>
          <p:nvSpPr>
            <p:cNvPr id="10" name="Textfeld 9"/>
            <p:cNvSpPr txBox="1"/>
            <p:nvPr/>
          </p:nvSpPr>
          <p:spPr>
            <a:xfrm>
              <a:off x="4714876" y="1946440"/>
              <a:ext cx="1954306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/>
              <a:r>
                <a:rPr lang="de-DE" sz="1000" smtClean="0"/>
                <a:t>Offset, AKA</a:t>
              </a:r>
            </a:p>
            <a:p>
              <a:pPr algn="l"/>
              <a:r>
                <a:rPr lang="de-DE" sz="1000" smtClean="0"/>
                <a:t>Pedestal, AKA</a:t>
              </a:r>
            </a:p>
            <a:p>
              <a:pPr algn="l"/>
              <a:r>
                <a:rPr lang="de-DE" sz="1000" smtClean="0"/>
                <a:t>Black level ....</a:t>
              </a:r>
              <a:endParaRPr lang="de-DE" sz="1000" dirty="0" err="1" smtClean="0"/>
            </a:p>
          </p:txBody>
        </p:sp>
        <p:sp>
          <p:nvSpPr>
            <p:cNvPr id="11" name="Ellipse 10"/>
            <p:cNvSpPr/>
            <p:nvPr/>
          </p:nvSpPr>
          <p:spPr>
            <a:xfrm>
              <a:off x="2599767" y="2375571"/>
              <a:ext cx="490070" cy="325795"/>
            </a:xfrm>
            <a:prstGeom prst="ellipse">
              <a:avLst/>
            </a:prstGeom>
            <a:noFill/>
            <a:ln w="3175" cmpd="sng">
              <a:solidFill>
                <a:srgbClr val="C00000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cxnSp>
          <p:nvCxnSpPr>
            <p:cNvPr id="13" name="Gerader Verbinder 12"/>
            <p:cNvCxnSpPr/>
            <p:nvPr/>
          </p:nvCxnSpPr>
          <p:spPr>
            <a:xfrm flipV="1">
              <a:off x="3089837" y="2175435"/>
              <a:ext cx="1571810" cy="370541"/>
            </a:xfrm>
            <a:prstGeom prst="line">
              <a:avLst/>
            </a:prstGeom>
            <a:ln w="3175" cmpd="sng">
              <a:solidFill>
                <a:srgbClr val="C00000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4" descr="9e9fcf4d-f4f6-466a-91d8-65d52628c44c@um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88387" y="1369883"/>
            <a:ext cx="2879529" cy="348306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9193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ccuracy functio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Readout and processing | 26.11.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sp>
        <p:nvSpPr>
          <p:cNvPr id="5" name="Textfeld 10"/>
          <p:cNvSpPr txBox="1">
            <a:spLocks noChangeArrowheads="1"/>
          </p:cNvSpPr>
          <p:nvPr/>
        </p:nvSpPr>
        <p:spPr bwMode="auto">
          <a:xfrm>
            <a:off x="870044" y="1292506"/>
            <a:ext cx="5351461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None/>
              <a:defRPr/>
            </a:pPr>
            <a:r>
              <a:rPr lang="de-DE" altLang="de-DE" sz="1600" b="1" smtClean="0"/>
              <a:t>Example </a:t>
            </a:r>
            <a:r>
              <a:rPr lang="de-DE" altLang="de-DE" sz="1600" b="1"/>
              <a:t>1: Linear gain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600"/>
              <a:t>Linear gain function </a:t>
            </a:r>
            <a:r>
              <a:rPr lang="de-DE" altLang="de-DE" sz="1600" smtClean="0"/>
              <a:t>„ansatz“:</a:t>
            </a:r>
            <a:endParaRPr lang="de-DE" altLang="de-DE" sz="1600"/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Linear gain coefficient (from boundary conditions)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Accuracy function: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ea typeface="Times New Roman" panose="02020603050405020304" pitchFamily="18" charset="0"/>
                <a:cs typeface="Times New Roman" panose="02020603050405020304" pitchFamily="18" charset="0"/>
              </a:rPr>
              <a:t>Using the </a:t>
            </a:r>
            <a:r>
              <a:rPr lang="de-DE" sz="1600" b="1">
                <a:ea typeface="Times New Roman" panose="02020603050405020304" pitchFamily="18" charset="0"/>
                <a:cs typeface="Times New Roman" panose="02020603050405020304" pitchFamily="18" charset="0"/>
              </a:rPr>
              <a:t>amplifier dynamic range to noise </a:t>
            </a:r>
            <a:r>
              <a:rPr lang="de-DE" sz="1600" b="1" smtClean="0">
                <a:ea typeface="Times New Roman" panose="02020603050405020304" pitchFamily="18" charset="0"/>
                <a:cs typeface="Times New Roman" panose="02020603050405020304" pitchFamily="18" charset="0"/>
              </a:rPr>
              <a:t>ratio (A</a:t>
            </a:r>
            <a:r>
              <a:rPr lang="de-DE" sz="1600" b="1" baseline="-250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DNR</a:t>
            </a:r>
            <a:r>
              <a:rPr lang="de-DE" sz="1600" b="1" smtClean="0"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de-DE" sz="1600" smtClean="0"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de-DE" sz="160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276" y="2195795"/>
            <a:ext cx="68484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95" y="3300694"/>
            <a:ext cx="3325812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95" y="4383369"/>
            <a:ext cx="5080000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45" y="5634319"/>
            <a:ext cx="2159000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nhaltsplatzhalter 3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199" y="2061008"/>
            <a:ext cx="4022938" cy="3020861"/>
          </a:xfrm>
        </p:spPr>
      </p:pic>
    </p:spTree>
    <p:extLst>
      <p:ext uri="{BB962C8B-B14F-4D97-AF65-F5344CB8AC3E}">
        <p14:creationId xmlns:p14="http://schemas.microsoft.com/office/powerpoint/2010/main" val="38080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wBAb9LrG6CZdye_dFF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69</Words>
  <Application>Microsoft Office PowerPoint</Application>
  <PresentationFormat>Breitbild</PresentationFormat>
  <Paragraphs>424</Paragraphs>
  <Slides>36</Slides>
  <Notes>0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36</vt:i4>
      </vt:variant>
    </vt:vector>
  </HeadingPairs>
  <TitlesOfParts>
    <vt:vector size="52" baseType="lpstr">
      <vt:lpstr>.SF NS Symbols Regular</vt:lpstr>
      <vt:lpstr>Arial</vt:lpstr>
      <vt:lpstr>Calibri</vt:lpstr>
      <vt:lpstr>Cambria Math</vt:lpstr>
      <vt:lpstr>Comic Sans MS</vt:lpstr>
      <vt:lpstr>Droid Sans Fallback</vt:lpstr>
      <vt:lpstr>MS Mincho</vt:lpstr>
      <vt:lpstr>Segoe UI Symbol</vt:lpstr>
      <vt:lpstr>Symbol</vt:lpstr>
      <vt:lpstr>Times New Roman</vt:lpstr>
      <vt:lpstr>Wingdings</vt:lpstr>
      <vt:lpstr>Wingdings 3</vt:lpstr>
      <vt:lpstr>Office</vt:lpstr>
      <vt:lpstr>think-cell Folie</vt:lpstr>
      <vt:lpstr>CorelDRAW</vt:lpstr>
      <vt:lpstr>Graph</vt:lpstr>
      <vt:lpstr>Nonlinear Amplification revisited Insights and modelling</vt:lpstr>
      <vt:lpstr>EDET DH80K</vt:lpstr>
      <vt:lpstr>Contents</vt:lpstr>
      <vt:lpstr>Requirements</vt:lpstr>
      <vt:lpstr>Requirements</vt:lpstr>
      <vt:lpstr>Accuracy function</vt:lpstr>
      <vt:lpstr>Accuracy function</vt:lpstr>
      <vt:lpstr>Accuracy function</vt:lpstr>
      <vt:lpstr>Accuracy function</vt:lpstr>
      <vt:lpstr>Accuracy function</vt:lpstr>
      <vt:lpstr>Accuracy function</vt:lpstr>
      <vt:lpstr>Accuracy function</vt:lpstr>
      <vt:lpstr>Accuracy function</vt:lpstr>
      <vt:lpstr>Accuracy function</vt:lpstr>
      <vt:lpstr>DEPFET and nonlinear amPlification</vt:lpstr>
      <vt:lpstr>DEPFET and NLA</vt:lpstr>
      <vt:lpstr>DEPFET and NLA</vt:lpstr>
      <vt:lpstr>The many g_Q s of the DEPFET  </vt:lpstr>
      <vt:lpstr>The many g_Q s of the DEPFET </vt:lpstr>
      <vt:lpstr>The many g_Q s of the DEPFET </vt:lpstr>
      <vt:lpstr>The many g_Q s of the DEPFET </vt:lpstr>
      <vt:lpstr>Calculting DEPFET g_Q</vt:lpstr>
      <vt:lpstr>Calculting DEPFET g_Q</vt:lpstr>
      <vt:lpstr>Calculting DEPFET g_Q</vt:lpstr>
      <vt:lpstr>Calculting DEPFET g_Q</vt:lpstr>
      <vt:lpstr>Calculting DEPFET g_Q</vt:lpstr>
      <vt:lpstr>Calculting DEPFET g_Q</vt:lpstr>
      <vt:lpstr>Calculting DEPFET g_Q</vt:lpstr>
      <vt:lpstr>Calculting DEPFET g_Q</vt:lpstr>
      <vt:lpstr>Calculting DEPFET g_Q</vt:lpstr>
      <vt:lpstr>Calculting DEPFET g_Q</vt:lpstr>
      <vt:lpstr>Calculting DEPFET g_Q</vt:lpstr>
      <vt:lpstr>Construction of Gain function for DEPFET</vt:lpstr>
      <vt:lpstr>Summary</vt:lpstr>
      <vt:lpstr>Outlook</vt:lpstr>
      <vt:lpstr>Questions?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Johannes Treis</cp:lastModifiedBy>
  <cp:revision>642</cp:revision>
  <dcterms:created xsi:type="dcterms:W3CDTF">2020-02-11T08:20:15Z</dcterms:created>
  <dcterms:modified xsi:type="dcterms:W3CDTF">2025-05-09T12:23:42Z</dcterms:modified>
</cp:coreProperties>
</file>